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910" r:id="rId4"/>
  </p:sldMasterIdLst>
  <p:notesMasterIdLst>
    <p:notesMasterId r:id="rId44"/>
  </p:notesMasterIdLst>
  <p:handoutMasterIdLst>
    <p:handoutMasterId r:id="rId45"/>
  </p:handoutMasterIdLst>
  <p:sldIdLst>
    <p:sldId id="256" r:id="rId5"/>
    <p:sldId id="953" r:id="rId6"/>
    <p:sldId id="257" r:id="rId7"/>
    <p:sldId id="1002" r:id="rId8"/>
    <p:sldId id="1004" r:id="rId9"/>
    <p:sldId id="313" r:id="rId10"/>
    <p:sldId id="314" r:id="rId11"/>
    <p:sldId id="315" r:id="rId12"/>
    <p:sldId id="269" r:id="rId13"/>
    <p:sldId id="270" r:id="rId14"/>
    <p:sldId id="271" r:id="rId15"/>
    <p:sldId id="1001" r:id="rId16"/>
    <p:sldId id="284" r:id="rId17"/>
    <p:sldId id="292" r:id="rId18"/>
    <p:sldId id="1006" r:id="rId19"/>
    <p:sldId id="955" r:id="rId20"/>
    <p:sldId id="1007" r:id="rId21"/>
    <p:sldId id="998" r:id="rId22"/>
    <p:sldId id="957" r:id="rId23"/>
    <p:sldId id="476" r:id="rId24"/>
    <p:sldId id="999" r:id="rId25"/>
    <p:sldId id="1000" r:id="rId26"/>
    <p:sldId id="1005" r:id="rId27"/>
    <p:sldId id="956" r:id="rId28"/>
    <p:sldId id="296" r:id="rId29"/>
    <p:sldId id="318" r:id="rId30"/>
    <p:sldId id="264" r:id="rId31"/>
    <p:sldId id="265" r:id="rId32"/>
    <p:sldId id="273" r:id="rId33"/>
    <p:sldId id="1008" r:id="rId34"/>
    <p:sldId id="1011" r:id="rId35"/>
    <p:sldId id="1012" r:id="rId36"/>
    <p:sldId id="316" r:id="rId37"/>
    <p:sldId id="317" r:id="rId38"/>
    <p:sldId id="733" r:id="rId39"/>
    <p:sldId id="1013" r:id="rId40"/>
    <p:sldId id="1014" r:id="rId41"/>
    <p:sldId id="1015" r:id="rId42"/>
    <p:sldId id="361" r:id="rId43"/>
  </p:sldIdLst>
  <p:sldSz cx="12192000" cy="6858000"/>
  <p:notesSz cx="6858000" cy="9144000"/>
  <p:defaultTextStyle>
    <a:defPPr rtl="0"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28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42"/>
    <a:srgbClr val="2729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C8424F-0765-4F16-9237-ECC585E04C88}" v="32" dt="2023-06-14T23:23:06.2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44" autoAdjust="0"/>
    <p:restoredTop sz="94660"/>
  </p:normalViewPr>
  <p:slideViewPr>
    <p:cSldViewPr snapToGrid="0">
      <p:cViewPr>
        <p:scale>
          <a:sx n="66" d="100"/>
          <a:sy n="66" d="100"/>
        </p:scale>
        <p:origin x="1704" y="317"/>
      </p:cViewPr>
      <p:guideLst>
        <p:guide orient="horz" pos="292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commentAuthors" Target="comment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to admin studio" userId="a8e4de7fefc2f42b" providerId="LiveId" clId="{87F32D8D-930E-4B9C-A1D8-503CBB178C3E}"/>
    <pc:docChg chg="undo custSel addSld delSld modSld sldOrd">
      <pc:chgData name="Loto admin studio" userId="a8e4de7fefc2f42b" providerId="LiveId" clId="{87F32D8D-930E-4B9C-A1D8-503CBB178C3E}" dt="2023-06-11T04:51:57.928" v="702" actId="20577"/>
      <pc:docMkLst>
        <pc:docMk/>
      </pc:docMkLst>
      <pc:sldChg chg="add">
        <pc:chgData name="Loto admin studio" userId="a8e4de7fefc2f42b" providerId="LiveId" clId="{87F32D8D-930E-4B9C-A1D8-503CBB178C3E}" dt="2023-06-11T03:25:44.026" v="243"/>
        <pc:sldMkLst>
          <pc:docMk/>
          <pc:sldMk cId="2036976259" sldId="476"/>
        </pc:sldMkLst>
      </pc:sldChg>
      <pc:sldChg chg="del">
        <pc:chgData name="Loto admin studio" userId="a8e4de7fefc2f42b" providerId="LiveId" clId="{87F32D8D-930E-4B9C-A1D8-503CBB178C3E}" dt="2023-06-11T03:19:24.778" v="186" actId="47"/>
        <pc:sldMkLst>
          <pc:docMk/>
          <pc:sldMk cId="2901785778" sldId="732"/>
        </pc:sldMkLst>
      </pc:sldChg>
      <pc:sldChg chg="add">
        <pc:chgData name="Loto admin studio" userId="a8e4de7fefc2f42b" providerId="LiveId" clId="{87F32D8D-930E-4B9C-A1D8-503CBB178C3E}" dt="2023-06-11T03:26:40.981" v="244"/>
        <pc:sldMkLst>
          <pc:docMk/>
          <pc:sldMk cId="654497473" sldId="733"/>
        </pc:sldMkLst>
      </pc:sldChg>
      <pc:sldChg chg="add">
        <pc:chgData name="Loto admin studio" userId="a8e4de7fefc2f42b" providerId="LiveId" clId="{87F32D8D-930E-4B9C-A1D8-503CBB178C3E}" dt="2023-06-11T03:26:40.981" v="244"/>
        <pc:sldMkLst>
          <pc:docMk/>
          <pc:sldMk cId="532268468" sldId="734"/>
        </pc:sldMkLst>
      </pc:sldChg>
      <pc:sldChg chg="del">
        <pc:chgData name="Loto admin studio" userId="a8e4de7fefc2f42b" providerId="LiveId" clId="{87F32D8D-930E-4B9C-A1D8-503CBB178C3E}" dt="2023-06-11T03:19:29.720" v="187" actId="47"/>
        <pc:sldMkLst>
          <pc:docMk/>
          <pc:sldMk cId="921819595" sldId="952"/>
        </pc:sldMkLst>
      </pc:sldChg>
      <pc:sldChg chg="add">
        <pc:chgData name="Loto admin studio" userId="a8e4de7fefc2f42b" providerId="LiveId" clId="{87F32D8D-930E-4B9C-A1D8-503CBB178C3E}" dt="2023-06-11T03:25:44.026" v="243"/>
        <pc:sldMkLst>
          <pc:docMk/>
          <pc:sldMk cId="2004194361" sldId="953"/>
        </pc:sldMkLst>
      </pc:sldChg>
      <pc:sldChg chg="add">
        <pc:chgData name="Loto admin studio" userId="a8e4de7fefc2f42b" providerId="LiveId" clId="{87F32D8D-930E-4B9C-A1D8-503CBB178C3E}" dt="2023-06-11T03:25:44.026" v="243"/>
        <pc:sldMkLst>
          <pc:docMk/>
          <pc:sldMk cId="1650415521" sldId="955"/>
        </pc:sldMkLst>
      </pc:sldChg>
      <pc:sldChg chg="add">
        <pc:chgData name="Loto admin studio" userId="a8e4de7fefc2f42b" providerId="LiveId" clId="{87F32D8D-930E-4B9C-A1D8-503CBB178C3E}" dt="2023-06-11T03:25:44.026" v="243"/>
        <pc:sldMkLst>
          <pc:docMk/>
          <pc:sldMk cId="3529010539" sldId="956"/>
        </pc:sldMkLst>
      </pc:sldChg>
      <pc:sldChg chg="add">
        <pc:chgData name="Loto admin studio" userId="a8e4de7fefc2f42b" providerId="LiveId" clId="{87F32D8D-930E-4B9C-A1D8-503CBB178C3E}" dt="2023-06-11T03:25:44.026" v="243"/>
        <pc:sldMkLst>
          <pc:docMk/>
          <pc:sldMk cId="95291220" sldId="957"/>
        </pc:sldMkLst>
      </pc:sldChg>
      <pc:sldChg chg="ord">
        <pc:chgData name="Loto admin studio" userId="a8e4de7fefc2f42b" providerId="LiveId" clId="{87F32D8D-930E-4B9C-A1D8-503CBB178C3E}" dt="2023-06-11T04:02:10.035" v="289"/>
        <pc:sldMkLst>
          <pc:docMk/>
          <pc:sldMk cId="1950030066" sldId="962"/>
        </pc:sldMkLst>
      </pc:sldChg>
      <pc:sldChg chg="addSp delSp modSp mod ord">
        <pc:chgData name="Loto admin studio" userId="a8e4de7fefc2f42b" providerId="LiveId" clId="{87F32D8D-930E-4B9C-A1D8-503CBB178C3E}" dt="2023-06-11T03:23:11.169" v="232"/>
        <pc:sldMkLst>
          <pc:docMk/>
          <pc:sldMk cId="1108625636" sldId="964"/>
        </pc:sldMkLst>
        <pc:spChg chg="mod">
          <ac:chgData name="Loto admin studio" userId="a8e4de7fefc2f42b" providerId="LiveId" clId="{87F32D8D-930E-4B9C-A1D8-503CBB178C3E}" dt="2023-06-11T03:21:18.926" v="223" actId="20577"/>
          <ac:spMkLst>
            <pc:docMk/>
            <pc:sldMk cId="1108625636" sldId="964"/>
            <ac:spMk id="2" creationId="{00000000-0000-0000-0000-000000000000}"/>
          </ac:spMkLst>
        </pc:spChg>
        <pc:spChg chg="add mod">
          <ac:chgData name="Loto admin studio" userId="a8e4de7fefc2f42b" providerId="LiveId" clId="{87F32D8D-930E-4B9C-A1D8-503CBB178C3E}" dt="2023-06-11T03:22:27.081" v="229" actId="1076"/>
          <ac:spMkLst>
            <pc:docMk/>
            <pc:sldMk cId="1108625636" sldId="964"/>
            <ac:spMk id="5" creationId="{404951AA-F267-6AE2-961B-78EC13165018}"/>
          </ac:spMkLst>
        </pc:spChg>
        <pc:spChg chg="del">
          <ac:chgData name="Loto admin studio" userId="a8e4de7fefc2f42b" providerId="LiveId" clId="{87F32D8D-930E-4B9C-A1D8-503CBB178C3E}" dt="2023-06-11T03:20:56.150" v="193" actId="478"/>
          <ac:spMkLst>
            <pc:docMk/>
            <pc:sldMk cId="1108625636" sldId="964"/>
            <ac:spMk id="22" creationId="{75878B57-5637-8036-000D-FB4734CBE61A}"/>
          </ac:spMkLst>
        </pc:spChg>
        <pc:spChg chg="del">
          <ac:chgData name="Loto admin studio" userId="a8e4de7fefc2f42b" providerId="LiveId" clId="{87F32D8D-930E-4B9C-A1D8-503CBB178C3E}" dt="2023-06-11T03:20:51.673" v="192" actId="478"/>
          <ac:spMkLst>
            <pc:docMk/>
            <pc:sldMk cId="1108625636" sldId="964"/>
            <ac:spMk id="31" creationId="{BBB8538F-863D-BF04-7521-DA36F70DC57E}"/>
          </ac:spMkLst>
        </pc:spChg>
        <pc:graphicFrameChg chg="del">
          <ac:chgData name="Loto admin studio" userId="a8e4de7fefc2f42b" providerId="LiveId" clId="{87F32D8D-930E-4B9C-A1D8-503CBB178C3E}" dt="2023-06-11T03:20:48.310" v="191" actId="478"/>
          <ac:graphicFrameMkLst>
            <pc:docMk/>
            <pc:sldMk cId="1108625636" sldId="964"/>
            <ac:graphicFrameMk id="27" creationId="{CA3A3CF9-44B2-27FA-271D-841E4656AB07}"/>
          </ac:graphicFrameMkLst>
        </pc:graphicFrameChg>
        <pc:picChg chg="add mod">
          <ac:chgData name="Loto admin studio" userId="a8e4de7fefc2f42b" providerId="LiveId" clId="{87F32D8D-930E-4B9C-A1D8-503CBB178C3E}" dt="2023-06-11T03:22:27.081" v="229" actId="1076"/>
          <ac:picMkLst>
            <pc:docMk/>
            <pc:sldMk cId="1108625636" sldId="964"/>
            <ac:picMk id="4" creationId="{ABF426C7-E258-B5C5-F1CF-EF36B3CC850A}"/>
          </ac:picMkLst>
        </pc:picChg>
      </pc:sldChg>
      <pc:sldChg chg="del">
        <pc:chgData name="Loto admin studio" userId="a8e4de7fefc2f42b" providerId="LiveId" clId="{87F32D8D-930E-4B9C-A1D8-503CBB178C3E}" dt="2023-06-11T03:19:44.523" v="188" actId="47"/>
        <pc:sldMkLst>
          <pc:docMk/>
          <pc:sldMk cId="3728857223" sldId="971"/>
        </pc:sldMkLst>
      </pc:sldChg>
      <pc:sldChg chg="del">
        <pc:chgData name="Loto admin studio" userId="a8e4de7fefc2f42b" providerId="LiveId" clId="{87F32D8D-930E-4B9C-A1D8-503CBB178C3E}" dt="2023-06-11T04:01:54.718" v="286" actId="47"/>
        <pc:sldMkLst>
          <pc:docMk/>
          <pc:sldMk cId="1057402187" sldId="983"/>
        </pc:sldMkLst>
      </pc:sldChg>
      <pc:sldChg chg="addSp delSp modSp new mod">
        <pc:chgData name="Loto admin studio" userId="a8e4de7fefc2f42b" providerId="LiveId" clId="{87F32D8D-930E-4B9C-A1D8-503CBB178C3E}" dt="2023-06-11T04:24:39.062" v="454" actId="1076"/>
        <pc:sldMkLst>
          <pc:docMk/>
          <pc:sldMk cId="586556213" sldId="984"/>
        </pc:sldMkLst>
        <pc:spChg chg="mod">
          <ac:chgData name="Loto admin studio" userId="a8e4de7fefc2f42b" providerId="LiveId" clId="{87F32D8D-930E-4B9C-A1D8-503CBB178C3E}" dt="2023-06-11T03:18:38.402" v="185" actId="20577"/>
          <ac:spMkLst>
            <pc:docMk/>
            <pc:sldMk cId="586556213" sldId="984"/>
            <ac:spMk id="2" creationId="{A5325042-A5EE-0928-3BA5-60387F9746A9}"/>
          </ac:spMkLst>
        </pc:spChg>
        <pc:spChg chg="mod">
          <ac:chgData name="Loto admin studio" userId="a8e4de7fefc2f42b" providerId="LiveId" clId="{87F32D8D-930E-4B9C-A1D8-503CBB178C3E}" dt="2023-06-11T03:12:28.816" v="41" actId="20577"/>
          <ac:spMkLst>
            <pc:docMk/>
            <pc:sldMk cId="586556213" sldId="984"/>
            <ac:spMk id="3" creationId="{4C9DCFB9-DD80-4F49-6B97-45CBD4C271FF}"/>
          </ac:spMkLst>
        </pc:spChg>
        <pc:spChg chg="add del">
          <ac:chgData name="Loto admin studio" userId="a8e4de7fefc2f42b" providerId="LiveId" clId="{87F32D8D-930E-4B9C-A1D8-503CBB178C3E}" dt="2023-06-11T03:10:12.198" v="2" actId="12084"/>
          <ac:spMkLst>
            <pc:docMk/>
            <pc:sldMk cId="586556213" sldId="984"/>
            <ac:spMk id="4" creationId="{742051A0-707F-3256-AF9E-7E0C6403EF45}"/>
          </ac:spMkLst>
        </pc:spChg>
        <pc:spChg chg="add mod">
          <ac:chgData name="Loto admin studio" userId="a8e4de7fefc2f42b" providerId="LiveId" clId="{87F32D8D-930E-4B9C-A1D8-503CBB178C3E}" dt="2023-06-11T04:24:27.035" v="452" actId="1076"/>
          <ac:spMkLst>
            <pc:docMk/>
            <pc:sldMk cId="586556213" sldId="984"/>
            <ac:spMk id="8" creationId="{AE8E9831-76C9-2C3A-71D3-0D67F67F7469}"/>
          </ac:spMkLst>
        </pc:spChg>
        <pc:graphicFrameChg chg="add mod">
          <ac:chgData name="Loto admin studio" userId="a8e4de7fefc2f42b" providerId="LiveId" clId="{87F32D8D-930E-4B9C-A1D8-503CBB178C3E}" dt="2023-06-11T04:24:18.183" v="450" actId="1076"/>
          <ac:graphicFrameMkLst>
            <pc:docMk/>
            <pc:sldMk cId="586556213" sldId="984"/>
            <ac:graphicFrameMk id="5" creationId="{BDA83935-0763-C5CD-AF03-04CDF030FC71}"/>
          </ac:graphicFrameMkLst>
        </pc:graphicFrameChg>
        <pc:graphicFrameChg chg="add mod">
          <ac:chgData name="Loto admin studio" userId="a8e4de7fefc2f42b" providerId="LiveId" clId="{87F32D8D-930E-4B9C-A1D8-503CBB178C3E}" dt="2023-06-11T04:24:39.062" v="454" actId="1076"/>
          <ac:graphicFrameMkLst>
            <pc:docMk/>
            <pc:sldMk cId="586556213" sldId="984"/>
            <ac:graphicFrameMk id="6" creationId="{4C4802E9-DADD-777D-6035-79AFBCA288B7}"/>
          </ac:graphicFrameMkLst>
        </pc:graphicFrameChg>
        <pc:graphicFrameChg chg="add mod">
          <ac:chgData name="Loto admin studio" userId="a8e4de7fefc2f42b" providerId="LiveId" clId="{87F32D8D-930E-4B9C-A1D8-503CBB178C3E}" dt="2023-06-11T04:24:33.369" v="453" actId="1076"/>
          <ac:graphicFrameMkLst>
            <pc:docMk/>
            <pc:sldMk cId="586556213" sldId="984"/>
            <ac:graphicFrameMk id="7" creationId="{0F846154-8FFC-CFA7-3003-644610A1AFF7}"/>
          </ac:graphicFrameMkLst>
        </pc:graphicFrameChg>
      </pc:sldChg>
      <pc:sldChg chg="addSp delSp modSp new del mod">
        <pc:chgData name="Loto admin studio" userId="a8e4de7fefc2f42b" providerId="LiveId" clId="{87F32D8D-930E-4B9C-A1D8-503CBB178C3E}" dt="2023-06-11T04:08:53.340" v="328" actId="47"/>
        <pc:sldMkLst>
          <pc:docMk/>
          <pc:sldMk cId="1693728103" sldId="985"/>
        </pc:sldMkLst>
        <pc:spChg chg="del">
          <ac:chgData name="Loto admin studio" userId="a8e4de7fefc2f42b" providerId="LiveId" clId="{87F32D8D-930E-4B9C-A1D8-503CBB178C3E}" dt="2023-06-11T04:02:45.486" v="295" actId="478"/>
          <ac:spMkLst>
            <pc:docMk/>
            <pc:sldMk cId="1693728103" sldId="985"/>
            <ac:spMk id="2" creationId="{1071AEAC-435B-371F-2625-ACB5B3E14AE3}"/>
          </ac:spMkLst>
        </pc:spChg>
        <pc:spChg chg="del mod">
          <ac:chgData name="Loto admin studio" userId="a8e4de7fefc2f42b" providerId="LiveId" clId="{87F32D8D-930E-4B9C-A1D8-503CBB178C3E}" dt="2023-06-11T04:02:57.465" v="298" actId="478"/>
          <ac:spMkLst>
            <pc:docMk/>
            <pc:sldMk cId="1693728103" sldId="985"/>
            <ac:spMk id="3" creationId="{FD43D22C-ACB7-454F-EA85-05C41AF8F540}"/>
          </ac:spMkLst>
        </pc:spChg>
        <pc:spChg chg="add del mod">
          <ac:chgData name="Loto admin studio" userId="a8e4de7fefc2f42b" providerId="LiveId" clId="{87F32D8D-930E-4B9C-A1D8-503CBB178C3E}" dt="2023-06-11T04:03:00.176" v="299" actId="478"/>
          <ac:spMkLst>
            <pc:docMk/>
            <pc:sldMk cId="1693728103" sldId="985"/>
            <ac:spMk id="5" creationId="{360721CE-D6A7-BE45-64FB-84331EBF3CC2}"/>
          </ac:spMkLst>
        </pc:spChg>
        <pc:picChg chg="add del mod">
          <ac:chgData name="Loto admin studio" userId="a8e4de7fefc2f42b" providerId="LiveId" clId="{87F32D8D-930E-4B9C-A1D8-503CBB178C3E}" dt="2023-06-11T04:08:17.814" v="321" actId="478"/>
          <ac:picMkLst>
            <pc:docMk/>
            <pc:sldMk cId="1693728103" sldId="985"/>
            <ac:picMk id="1026" creationId="{F1473D86-4C1C-04AD-1D92-B8BCC1C934A8}"/>
          </ac:picMkLst>
        </pc:picChg>
        <pc:picChg chg="add del mod">
          <ac:chgData name="Loto admin studio" userId="a8e4de7fefc2f42b" providerId="LiveId" clId="{87F32D8D-930E-4B9C-A1D8-503CBB178C3E}" dt="2023-06-11T04:08:41.217" v="326" actId="478"/>
          <ac:picMkLst>
            <pc:docMk/>
            <pc:sldMk cId="1693728103" sldId="985"/>
            <ac:picMk id="1028" creationId="{CE8B0A3A-5A91-7B32-D0B5-DF3CDFEA4F1B}"/>
          </ac:picMkLst>
        </pc:picChg>
      </pc:sldChg>
      <pc:sldChg chg="add">
        <pc:chgData name="Loto admin studio" userId="a8e4de7fefc2f42b" providerId="LiveId" clId="{87F32D8D-930E-4B9C-A1D8-503CBB178C3E}" dt="2023-06-11T03:20:43.371" v="190" actId="2890"/>
        <pc:sldMkLst>
          <pc:docMk/>
          <pc:sldMk cId="2013008304" sldId="986"/>
        </pc:sldMkLst>
      </pc:sldChg>
      <pc:sldChg chg="addSp delSp modSp new mod">
        <pc:chgData name="Loto admin studio" userId="a8e4de7fefc2f42b" providerId="LiveId" clId="{87F32D8D-930E-4B9C-A1D8-503CBB178C3E}" dt="2023-06-11T03:36:44.756" v="285" actId="1076"/>
        <pc:sldMkLst>
          <pc:docMk/>
          <pc:sldMk cId="3161459210" sldId="987"/>
        </pc:sldMkLst>
        <pc:spChg chg="mod">
          <ac:chgData name="Loto admin studio" userId="a8e4de7fefc2f42b" providerId="LiveId" clId="{87F32D8D-930E-4B9C-A1D8-503CBB178C3E}" dt="2023-06-11T03:36:44.756" v="285" actId="1076"/>
          <ac:spMkLst>
            <pc:docMk/>
            <pc:sldMk cId="3161459210" sldId="987"/>
            <ac:spMk id="2" creationId="{CADA458B-5037-793D-0A59-0E65CE8AB1E2}"/>
          </ac:spMkLst>
        </pc:spChg>
        <pc:spChg chg="mod">
          <ac:chgData name="Loto admin studio" userId="a8e4de7fefc2f42b" providerId="LiveId" clId="{87F32D8D-930E-4B9C-A1D8-503CBB178C3E}" dt="2023-06-11T03:36:38.144" v="284" actId="14100"/>
          <ac:spMkLst>
            <pc:docMk/>
            <pc:sldMk cId="3161459210" sldId="987"/>
            <ac:spMk id="3" creationId="{D03ADAAE-9467-8A7C-B99F-980E6D35077E}"/>
          </ac:spMkLst>
        </pc:spChg>
        <pc:spChg chg="add mod">
          <ac:chgData name="Loto admin studio" userId="a8e4de7fefc2f42b" providerId="LiveId" clId="{87F32D8D-930E-4B9C-A1D8-503CBB178C3E}" dt="2023-06-11T03:35:51.854" v="277" actId="1076"/>
          <ac:spMkLst>
            <pc:docMk/>
            <pc:sldMk cId="3161459210" sldId="987"/>
            <ac:spMk id="5" creationId="{96C775E5-B7DD-8069-5788-942F48E442F2}"/>
          </ac:spMkLst>
        </pc:spChg>
        <pc:spChg chg="add del mod">
          <ac:chgData name="Loto admin studio" userId="a8e4de7fefc2f42b" providerId="LiveId" clId="{87F32D8D-930E-4B9C-A1D8-503CBB178C3E}" dt="2023-06-11T03:34:19.623" v="249" actId="478"/>
          <ac:spMkLst>
            <pc:docMk/>
            <pc:sldMk cId="3161459210" sldId="987"/>
            <ac:spMk id="8" creationId="{B0290AD6-7010-3CB4-872D-B44F6BD7B128}"/>
          </ac:spMkLst>
        </pc:spChg>
        <pc:spChg chg="add mod">
          <ac:chgData name="Loto admin studio" userId="a8e4de7fefc2f42b" providerId="LiveId" clId="{87F32D8D-930E-4B9C-A1D8-503CBB178C3E}" dt="2023-06-11T03:35:33.177" v="262" actId="1076"/>
          <ac:spMkLst>
            <pc:docMk/>
            <pc:sldMk cId="3161459210" sldId="987"/>
            <ac:spMk id="10" creationId="{90C8AC76-184D-37F0-A0FF-F51E83B8F2C0}"/>
          </ac:spMkLst>
        </pc:spChg>
        <pc:picChg chg="add del mod">
          <ac:chgData name="Loto admin studio" userId="a8e4de7fefc2f42b" providerId="LiveId" clId="{87F32D8D-930E-4B9C-A1D8-503CBB178C3E}" dt="2023-06-11T03:34:19.623" v="249" actId="478"/>
          <ac:picMkLst>
            <pc:docMk/>
            <pc:sldMk cId="3161459210" sldId="987"/>
            <ac:picMk id="7" creationId="{2CA31AA9-E047-E55B-6B2A-227A3814557A}"/>
          </ac:picMkLst>
        </pc:picChg>
      </pc:sldChg>
      <pc:sldChg chg="addSp delSp modSp add mod ord">
        <pc:chgData name="Loto admin studio" userId="a8e4de7fefc2f42b" providerId="LiveId" clId="{87F32D8D-930E-4B9C-A1D8-503CBB178C3E}" dt="2023-06-11T04:35:49.031" v="640"/>
        <pc:sldMkLst>
          <pc:docMk/>
          <pc:sldMk cId="2469327557" sldId="988"/>
        </pc:sldMkLst>
        <pc:spChg chg="del">
          <ac:chgData name="Loto admin studio" userId="a8e4de7fefc2f42b" providerId="LiveId" clId="{87F32D8D-930E-4B9C-A1D8-503CBB178C3E}" dt="2023-06-11T04:34:55.669" v="628" actId="478"/>
          <ac:spMkLst>
            <pc:docMk/>
            <pc:sldMk cId="2469327557" sldId="988"/>
            <ac:spMk id="2" creationId="{1071AEAC-435B-371F-2625-ACB5B3E14AE3}"/>
          </ac:spMkLst>
        </pc:spChg>
        <pc:spChg chg="del">
          <ac:chgData name="Loto admin studio" userId="a8e4de7fefc2f42b" providerId="LiveId" clId="{87F32D8D-930E-4B9C-A1D8-503CBB178C3E}" dt="2023-06-11T04:34:52.280" v="627" actId="478"/>
          <ac:spMkLst>
            <pc:docMk/>
            <pc:sldMk cId="2469327557" sldId="988"/>
            <ac:spMk id="3" creationId="{FD43D22C-ACB7-454F-EA85-05C41AF8F540}"/>
          </ac:spMkLst>
        </pc:spChg>
        <pc:picChg chg="add mod">
          <ac:chgData name="Loto admin studio" userId="a8e4de7fefc2f42b" providerId="LiveId" clId="{87F32D8D-930E-4B9C-A1D8-503CBB178C3E}" dt="2023-06-11T04:06:45.327" v="311" actId="1076"/>
          <ac:picMkLst>
            <pc:docMk/>
            <pc:sldMk cId="2469327557" sldId="988"/>
            <ac:picMk id="2050" creationId="{3AF58309-3E11-EA14-B6FA-EC425E22D7B8}"/>
          </ac:picMkLst>
        </pc:picChg>
        <pc:picChg chg="add del mod">
          <ac:chgData name="Loto admin studio" userId="a8e4de7fefc2f42b" providerId="LiveId" clId="{87F32D8D-930E-4B9C-A1D8-503CBB178C3E}" dt="2023-06-11T04:06:40.534" v="310" actId="21"/>
          <ac:picMkLst>
            <pc:docMk/>
            <pc:sldMk cId="2469327557" sldId="988"/>
            <ac:picMk id="2052" creationId="{4D6D41C7-CB34-A56D-2B51-09CDC2B48ECA}"/>
          </ac:picMkLst>
        </pc:picChg>
      </pc:sldChg>
      <pc:sldChg chg="addSp delSp modSp add mod ord">
        <pc:chgData name="Loto admin studio" userId="a8e4de7fefc2f42b" providerId="LiveId" clId="{87F32D8D-930E-4B9C-A1D8-503CBB178C3E}" dt="2023-06-11T04:35:49.031" v="640"/>
        <pc:sldMkLst>
          <pc:docMk/>
          <pc:sldMk cId="1139712608" sldId="989"/>
        </pc:sldMkLst>
        <pc:spChg chg="del">
          <ac:chgData name="Loto admin studio" userId="a8e4de7fefc2f42b" providerId="LiveId" clId="{87F32D8D-930E-4B9C-A1D8-503CBB178C3E}" dt="2023-06-11T04:07:06.814" v="317" actId="478"/>
          <ac:spMkLst>
            <pc:docMk/>
            <pc:sldMk cId="1139712608" sldId="989"/>
            <ac:spMk id="2" creationId="{1071AEAC-435B-371F-2625-ACB5B3E14AE3}"/>
          </ac:spMkLst>
        </pc:spChg>
        <pc:spChg chg="del">
          <ac:chgData name="Loto admin studio" userId="a8e4de7fefc2f42b" providerId="LiveId" clId="{87F32D8D-930E-4B9C-A1D8-503CBB178C3E}" dt="2023-06-11T04:07:11.949" v="318" actId="478"/>
          <ac:spMkLst>
            <pc:docMk/>
            <pc:sldMk cId="1139712608" sldId="989"/>
            <ac:spMk id="3" creationId="{FD43D22C-ACB7-454F-EA85-05C41AF8F540}"/>
          </ac:spMkLst>
        </pc:spChg>
        <pc:picChg chg="add mod">
          <ac:chgData name="Loto admin studio" userId="a8e4de7fefc2f42b" providerId="LiveId" clId="{87F32D8D-930E-4B9C-A1D8-503CBB178C3E}" dt="2023-06-11T04:07:17.750" v="319" actId="14100"/>
          <ac:picMkLst>
            <pc:docMk/>
            <pc:sldMk cId="1139712608" sldId="989"/>
            <ac:picMk id="4" creationId="{627830B2-72F0-D238-6E87-CD09DF046AB3}"/>
          </ac:picMkLst>
        </pc:picChg>
        <pc:picChg chg="del">
          <ac:chgData name="Loto admin studio" userId="a8e4de7fefc2f42b" providerId="LiveId" clId="{87F32D8D-930E-4B9C-A1D8-503CBB178C3E}" dt="2023-06-11T04:06:54.345" v="313" actId="478"/>
          <ac:picMkLst>
            <pc:docMk/>
            <pc:sldMk cId="1139712608" sldId="989"/>
            <ac:picMk id="2050" creationId="{3AF58309-3E11-EA14-B6FA-EC425E22D7B8}"/>
          </ac:picMkLst>
        </pc:picChg>
      </pc:sldChg>
      <pc:sldChg chg="add ord">
        <pc:chgData name="Loto admin studio" userId="a8e4de7fefc2f42b" providerId="LiveId" clId="{87F32D8D-930E-4B9C-A1D8-503CBB178C3E}" dt="2023-06-11T04:35:38.505" v="638"/>
        <pc:sldMkLst>
          <pc:docMk/>
          <pc:sldMk cId="1915440730" sldId="990"/>
        </pc:sldMkLst>
      </pc:sldChg>
      <pc:sldChg chg="add ord">
        <pc:chgData name="Loto admin studio" userId="a8e4de7fefc2f42b" providerId="LiveId" clId="{87F32D8D-930E-4B9C-A1D8-503CBB178C3E}" dt="2023-06-11T04:35:29.420" v="634"/>
        <pc:sldMkLst>
          <pc:docMk/>
          <pc:sldMk cId="2403380263" sldId="991"/>
        </pc:sldMkLst>
      </pc:sldChg>
      <pc:sldChg chg="addSp delSp modSp new mod">
        <pc:chgData name="Loto admin studio" userId="a8e4de7fefc2f42b" providerId="LiveId" clId="{87F32D8D-930E-4B9C-A1D8-503CBB178C3E}" dt="2023-06-11T04:15:58.805" v="426" actId="478"/>
        <pc:sldMkLst>
          <pc:docMk/>
          <pc:sldMk cId="2270979210" sldId="992"/>
        </pc:sldMkLst>
        <pc:spChg chg="mod">
          <ac:chgData name="Loto admin studio" userId="a8e4de7fefc2f42b" providerId="LiveId" clId="{87F32D8D-930E-4B9C-A1D8-503CBB178C3E}" dt="2023-06-11T04:09:20.921" v="374" actId="20577"/>
          <ac:spMkLst>
            <pc:docMk/>
            <pc:sldMk cId="2270979210" sldId="992"/>
            <ac:spMk id="2" creationId="{6AD9BBB9-862B-5470-B226-18F22F2D64CE}"/>
          </ac:spMkLst>
        </pc:spChg>
        <pc:spChg chg="mod">
          <ac:chgData name="Loto admin studio" userId="a8e4de7fefc2f42b" providerId="LiveId" clId="{87F32D8D-930E-4B9C-A1D8-503CBB178C3E}" dt="2023-06-11T04:09:13.812" v="362" actId="20577"/>
          <ac:spMkLst>
            <pc:docMk/>
            <pc:sldMk cId="2270979210" sldId="992"/>
            <ac:spMk id="3" creationId="{D72EB3D1-9519-C053-11D1-0972A45E6FF7}"/>
          </ac:spMkLst>
        </pc:spChg>
        <pc:spChg chg="add del mod">
          <ac:chgData name="Loto admin studio" userId="a8e4de7fefc2f42b" providerId="LiveId" clId="{87F32D8D-930E-4B9C-A1D8-503CBB178C3E}" dt="2023-06-11T04:11:48.370" v="384" actId="478"/>
          <ac:spMkLst>
            <pc:docMk/>
            <pc:sldMk cId="2270979210" sldId="992"/>
            <ac:spMk id="6" creationId="{32447E34-4F0B-566A-D0E9-4BC771AAEDD7}"/>
          </ac:spMkLst>
        </pc:spChg>
        <pc:spChg chg="add del mod">
          <ac:chgData name="Loto admin studio" userId="a8e4de7fefc2f42b" providerId="LiveId" clId="{87F32D8D-930E-4B9C-A1D8-503CBB178C3E}" dt="2023-06-11T04:12:55.216" v="398" actId="478"/>
          <ac:spMkLst>
            <pc:docMk/>
            <pc:sldMk cId="2270979210" sldId="992"/>
            <ac:spMk id="9" creationId="{4790EED7-E945-BE70-E9B9-DE7A81D45DD3}"/>
          </ac:spMkLst>
        </pc:spChg>
        <pc:spChg chg="add del mod">
          <ac:chgData name="Loto admin studio" userId="a8e4de7fefc2f42b" providerId="LiveId" clId="{87F32D8D-930E-4B9C-A1D8-503CBB178C3E}" dt="2023-06-11T04:12:50.569" v="397" actId="478"/>
          <ac:spMkLst>
            <pc:docMk/>
            <pc:sldMk cId="2270979210" sldId="992"/>
            <ac:spMk id="12" creationId="{DFD95905-FE59-4DB3-65AB-42A7BCBCE79F}"/>
          </ac:spMkLst>
        </pc:spChg>
        <pc:spChg chg="add del mod">
          <ac:chgData name="Loto admin studio" userId="a8e4de7fefc2f42b" providerId="LiveId" clId="{87F32D8D-930E-4B9C-A1D8-503CBB178C3E}" dt="2023-06-11T04:14:10.318" v="406" actId="478"/>
          <ac:spMkLst>
            <pc:docMk/>
            <pc:sldMk cId="2270979210" sldId="992"/>
            <ac:spMk id="15" creationId="{FDBBE5A4-9984-3DC2-1C10-6452020E7D0F}"/>
          </ac:spMkLst>
        </pc:spChg>
        <pc:spChg chg="add del mod">
          <ac:chgData name="Loto admin studio" userId="a8e4de7fefc2f42b" providerId="LiveId" clId="{87F32D8D-930E-4B9C-A1D8-503CBB178C3E}" dt="2023-06-11T04:15:55.706" v="425" actId="478"/>
          <ac:spMkLst>
            <pc:docMk/>
            <pc:sldMk cId="2270979210" sldId="992"/>
            <ac:spMk id="18" creationId="{0C32B3DD-AE93-797D-BD5B-46D95A260F0E}"/>
          </ac:spMkLst>
        </pc:spChg>
        <pc:spChg chg="add del mod">
          <ac:chgData name="Loto admin studio" userId="a8e4de7fefc2f42b" providerId="LiveId" clId="{87F32D8D-930E-4B9C-A1D8-503CBB178C3E}" dt="2023-06-11T04:15:58.805" v="426" actId="478"/>
          <ac:spMkLst>
            <pc:docMk/>
            <pc:sldMk cId="2270979210" sldId="992"/>
            <ac:spMk id="21" creationId="{DE4582C9-C9AD-F26E-CD1E-14B01A505B4F}"/>
          </ac:spMkLst>
        </pc:spChg>
        <pc:spChg chg="add mod">
          <ac:chgData name="Loto admin studio" userId="a8e4de7fefc2f42b" providerId="LiveId" clId="{87F32D8D-930E-4B9C-A1D8-503CBB178C3E}" dt="2023-06-11T04:15:12.295" v="414" actId="14100"/>
          <ac:spMkLst>
            <pc:docMk/>
            <pc:sldMk cId="2270979210" sldId="992"/>
            <ac:spMk id="24" creationId="{F6825B41-89F4-C278-56AA-B8871D5D5346}"/>
          </ac:spMkLst>
        </pc:spChg>
        <pc:picChg chg="add mod">
          <ac:chgData name="Loto admin studio" userId="a8e4de7fefc2f42b" providerId="LiveId" clId="{87F32D8D-930E-4B9C-A1D8-503CBB178C3E}" dt="2023-06-11T04:12:43.202" v="395" actId="1076"/>
          <ac:picMkLst>
            <pc:docMk/>
            <pc:sldMk cId="2270979210" sldId="992"/>
            <ac:picMk id="5" creationId="{9FF09E70-B92A-5DD7-CACC-2A3CBC097B44}"/>
          </ac:picMkLst>
        </pc:picChg>
        <pc:picChg chg="add del mod">
          <ac:chgData name="Loto admin studio" userId="a8e4de7fefc2f42b" providerId="LiveId" clId="{87F32D8D-930E-4B9C-A1D8-503CBB178C3E}" dt="2023-06-11T04:14:02.866" v="404" actId="478"/>
          <ac:picMkLst>
            <pc:docMk/>
            <pc:sldMk cId="2270979210" sldId="992"/>
            <ac:picMk id="8" creationId="{4A154F9F-0775-4FFE-B7E9-CF1E4E9158E4}"/>
          </ac:picMkLst>
        </pc:picChg>
        <pc:picChg chg="add mod">
          <ac:chgData name="Loto admin studio" userId="a8e4de7fefc2f42b" providerId="LiveId" clId="{87F32D8D-930E-4B9C-A1D8-503CBB178C3E}" dt="2023-06-11T04:12:45.350" v="396" actId="1076"/>
          <ac:picMkLst>
            <pc:docMk/>
            <pc:sldMk cId="2270979210" sldId="992"/>
            <ac:picMk id="11" creationId="{0E43A84A-C1F8-5610-6565-E37930F4A7F6}"/>
          </ac:picMkLst>
        </pc:picChg>
        <pc:picChg chg="add mod">
          <ac:chgData name="Loto admin studio" userId="a8e4de7fefc2f42b" providerId="LiveId" clId="{87F32D8D-930E-4B9C-A1D8-503CBB178C3E}" dt="2023-06-11T04:15:50.509" v="424" actId="1076"/>
          <ac:picMkLst>
            <pc:docMk/>
            <pc:sldMk cId="2270979210" sldId="992"/>
            <ac:picMk id="14" creationId="{D207CEAF-5B55-892A-C2CD-822D6B25BBBE}"/>
          </ac:picMkLst>
        </pc:picChg>
        <pc:picChg chg="add mod">
          <ac:chgData name="Loto admin studio" userId="a8e4de7fefc2f42b" providerId="LiveId" clId="{87F32D8D-930E-4B9C-A1D8-503CBB178C3E}" dt="2023-06-11T04:15:40.878" v="422" actId="1076"/>
          <ac:picMkLst>
            <pc:docMk/>
            <pc:sldMk cId="2270979210" sldId="992"/>
            <ac:picMk id="17" creationId="{5AEA0213-D285-4990-147E-F99E863B835F}"/>
          </ac:picMkLst>
        </pc:picChg>
        <pc:picChg chg="add mod">
          <ac:chgData name="Loto admin studio" userId="a8e4de7fefc2f42b" providerId="LiveId" clId="{87F32D8D-930E-4B9C-A1D8-503CBB178C3E}" dt="2023-06-11T04:15:27.977" v="418" actId="1076"/>
          <ac:picMkLst>
            <pc:docMk/>
            <pc:sldMk cId="2270979210" sldId="992"/>
            <ac:picMk id="20" creationId="{3DC09D3D-4BBF-37E8-7B31-9B39074CF51F}"/>
          </ac:picMkLst>
        </pc:picChg>
        <pc:picChg chg="add mod">
          <ac:chgData name="Loto admin studio" userId="a8e4de7fefc2f42b" providerId="LiveId" clId="{87F32D8D-930E-4B9C-A1D8-503CBB178C3E}" dt="2023-06-11T04:15:24.283" v="417" actId="1076"/>
          <ac:picMkLst>
            <pc:docMk/>
            <pc:sldMk cId="2270979210" sldId="992"/>
            <ac:picMk id="23" creationId="{2CC585B6-33A6-C242-99CF-973DDFC587AF}"/>
          </ac:picMkLst>
        </pc:picChg>
      </pc:sldChg>
      <pc:sldChg chg="addSp delSp modSp new mod ord">
        <pc:chgData name="Loto admin studio" userId="a8e4de7fefc2f42b" providerId="LiveId" clId="{87F32D8D-930E-4B9C-A1D8-503CBB178C3E}" dt="2023-06-11T04:30:39.071" v="602"/>
        <pc:sldMkLst>
          <pc:docMk/>
          <pc:sldMk cId="1377286072" sldId="993"/>
        </pc:sldMkLst>
        <pc:spChg chg="mod">
          <ac:chgData name="Loto admin studio" userId="a8e4de7fefc2f42b" providerId="LiveId" clId="{87F32D8D-930E-4B9C-A1D8-503CBB178C3E}" dt="2023-06-11T04:27:06.802" v="516" actId="20577"/>
          <ac:spMkLst>
            <pc:docMk/>
            <pc:sldMk cId="1377286072" sldId="993"/>
            <ac:spMk id="2" creationId="{1C7ADF90-7D94-C094-1925-E2C9B9D83E86}"/>
          </ac:spMkLst>
        </pc:spChg>
        <pc:spChg chg="mod">
          <ac:chgData name="Loto admin studio" userId="a8e4de7fefc2f42b" providerId="LiveId" clId="{87F32D8D-930E-4B9C-A1D8-503CBB178C3E}" dt="2023-06-11T04:26:50.705" v="482" actId="20577"/>
          <ac:spMkLst>
            <pc:docMk/>
            <pc:sldMk cId="1377286072" sldId="993"/>
            <ac:spMk id="3" creationId="{EC90B79C-208D-D4A5-E93E-58116FEFD377}"/>
          </ac:spMkLst>
        </pc:spChg>
        <pc:spChg chg="add del mod">
          <ac:chgData name="Loto admin studio" userId="a8e4de7fefc2f42b" providerId="LiveId" clId="{87F32D8D-930E-4B9C-A1D8-503CBB178C3E}" dt="2023-06-11T04:26:33.718" v="460" actId="478"/>
          <ac:spMkLst>
            <pc:docMk/>
            <pc:sldMk cId="1377286072" sldId="993"/>
            <ac:spMk id="6" creationId="{746645C1-E4B0-F418-A240-401F8828BDA6}"/>
          </ac:spMkLst>
        </pc:spChg>
        <pc:picChg chg="add mod">
          <ac:chgData name="Loto admin studio" userId="a8e4de7fefc2f42b" providerId="LiveId" clId="{87F32D8D-930E-4B9C-A1D8-503CBB178C3E}" dt="2023-06-11T04:26:43.937" v="461" actId="14100"/>
          <ac:picMkLst>
            <pc:docMk/>
            <pc:sldMk cId="1377286072" sldId="993"/>
            <ac:picMk id="5" creationId="{6805133B-26DB-A900-CF7A-F34DA08EA653}"/>
          </ac:picMkLst>
        </pc:picChg>
      </pc:sldChg>
      <pc:sldChg chg="addSp delSp modSp new mod ord">
        <pc:chgData name="Loto admin studio" userId="a8e4de7fefc2f42b" providerId="LiveId" clId="{87F32D8D-930E-4B9C-A1D8-503CBB178C3E}" dt="2023-06-11T04:30:42.359" v="604"/>
        <pc:sldMkLst>
          <pc:docMk/>
          <pc:sldMk cId="4033420734" sldId="994"/>
        </pc:sldMkLst>
        <pc:spChg chg="mod">
          <ac:chgData name="Loto admin studio" userId="a8e4de7fefc2f42b" providerId="LiveId" clId="{87F32D8D-930E-4B9C-A1D8-503CBB178C3E}" dt="2023-06-11T04:30:23.351" v="600" actId="20577"/>
          <ac:spMkLst>
            <pc:docMk/>
            <pc:sldMk cId="4033420734" sldId="994"/>
            <ac:spMk id="2" creationId="{91A9E642-5E20-9A3F-DC77-EE97F957C1E5}"/>
          </ac:spMkLst>
        </pc:spChg>
        <pc:spChg chg="mod">
          <ac:chgData name="Loto admin studio" userId="a8e4de7fefc2f42b" providerId="LiveId" clId="{87F32D8D-930E-4B9C-A1D8-503CBB178C3E}" dt="2023-06-11T04:30:15.563" v="585" actId="313"/>
          <ac:spMkLst>
            <pc:docMk/>
            <pc:sldMk cId="4033420734" sldId="994"/>
            <ac:spMk id="3" creationId="{FB85BF47-6250-6EB8-4227-D689C0833D38}"/>
          </ac:spMkLst>
        </pc:spChg>
        <pc:spChg chg="add del mod">
          <ac:chgData name="Loto admin studio" userId="a8e4de7fefc2f42b" providerId="LiveId" clId="{87F32D8D-930E-4B9C-A1D8-503CBB178C3E}" dt="2023-06-11T04:29:42.283" v="523" actId="478"/>
          <ac:spMkLst>
            <pc:docMk/>
            <pc:sldMk cId="4033420734" sldId="994"/>
            <ac:spMk id="6" creationId="{3BBED890-3CD8-5FD6-4221-ECDA54F15C94}"/>
          </ac:spMkLst>
        </pc:spChg>
        <pc:picChg chg="add mod">
          <ac:chgData name="Loto admin studio" userId="a8e4de7fefc2f42b" providerId="LiveId" clId="{87F32D8D-930E-4B9C-A1D8-503CBB178C3E}" dt="2023-06-11T04:29:48.494" v="524" actId="14100"/>
          <ac:picMkLst>
            <pc:docMk/>
            <pc:sldMk cId="4033420734" sldId="994"/>
            <ac:picMk id="5" creationId="{797E8EE5-3629-DF07-DA84-13A86D2A83FA}"/>
          </ac:picMkLst>
        </pc:picChg>
      </pc:sldChg>
      <pc:sldChg chg="addSp delSp modSp new del mod">
        <pc:chgData name="Loto admin studio" userId="a8e4de7fefc2f42b" providerId="LiveId" clId="{87F32D8D-930E-4B9C-A1D8-503CBB178C3E}" dt="2023-06-11T04:34:39.165" v="626" actId="47"/>
        <pc:sldMkLst>
          <pc:docMk/>
          <pc:sldMk cId="371074102" sldId="995"/>
        </pc:sldMkLst>
        <pc:spChg chg="add del mod">
          <ac:chgData name="Loto admin studio" userId="a8e4de7fefc2f42b" providerId="LiveId" clId="{87F32D8D-930E-4B9C-A1D8-503CBB178C3E}" dt="2023-06-11T04:32:01.970" v="610" actId="931"/>
          <ac:spMkLst>
            <pc:docMk/>
            <pc:sldMk cId="371074102" sldId="995"/>
            <ac:spMk id="6" creationId="{FE95416B-4CCF-C831-163D-C31FD748CF12}"/>
          </ac:spMkLst>
        </pc:spChg>
        <pc:spChg chg="add del mod">
          <ac:chgData name="Loto admin studio" userId="a8e4de7fefc2f42b" providerId="LiveId" clId="{87F32D8D-930E-4B9C-A1D8-503CBB178C3E}" dt="2023-06-11T04:32:42.980" v="615" actId="478"/>
          <ac:spMkLst>
            <pc:docMk/>
            <pc:sldMk cId="371074102" sldId="995"/>
            <ac:spMk id="9" creationId="{A9303C2E-E7C5-DB4E-6945-60DD398CD28F}"/>
          </ac:spMkLst>
        </pc:spChg>
        <pc:spChg chg="add del mod">
          <ac:chgData name="Loto admin studio" userId="a8e4de7fefc2f42b" providerId="LiveId" clId="{87F32D8D-930E-4B9C-A1D8-503CBB178C3E}" dt="2023-06-11T04:34:36.311" v="625" actId="478"/>
          <ac:spMkLst>
            <pc:docMk/>
            <pc:sldMk cId="371074102" sldId="995"/>
            <ac:spMk id="12" creationId="{3E79A8F4-E05A-03FB-386F-7C013F0650FF}"/>
          </ac:spMkLst>
        </pc:spChg>
        <pc:picChg chg="add del mod">
          <ac:chgData name="Loto admin studio" userId="a8e4de7fefc2f42b" providerId="LiveId" clId="{87F32D8D-930E-4B9C-A1D8-503CBB178C3E}" dt="2023-06-11T04:32:01.970" v="610" actId="931"/>
          <ac:picMkLst>
            <pc:docMk/>
            <pc:sldMk cId="371074102" sldId="995"/>
            <ac:picMk id="5" creationId="{3610C85E-2FC7-8C3F-252F-8F01D25C20F2}"/>
          </ac:picMkLst>
        </pc:picChg>
        <pc:picChg chg="add del mod">
          <ac:chgData name="Loto admin studio" userId="a8e4de7fefc2f42b" providerId="LiveId" clId="{87F32D8D-930E-4B9C-A1D8-503CBB178C3E}" dt="2023-06-11T04:33:09.223" v="619" actId="21"/>
          <ac:picMkLst>
            <pc:docMk/>
            <pc:sldMk cId="371074102" sldId="995"/>
            <ac:picMk id="8" creationId="{8269A23B-8F9C-8078-DBF2-0F98D40D744D}"/>
          </ac:picMkLst>
        </pc:picChg>
        <pc:picChg chg="add del mod">
          <ac:chgData name="Loto admin studio" userId="a8e4de7fefc2f42b" providerId="LiveId" clId="{87F32D8D-930E-4B9C-A1D8-503CBB178C3E}" dt="2023-06-11T04:34:36.311" v="625" actId="478"/>
          <ac:picMkLst>
            <pc:docMk/>
            <pc:sldMk cId="371074102" sldId="995"/>
            <ac:picMk id="11" creationId="{F156AABA-39BB-042C-60C2-1D04FBF0910D}"/>
          </ac:picMkLst>
        </pc:picChg>
      </pc:sldChg>
      <pc:sldChg chg="addSp delSp modSp add mod">
        <pc:chgData name="Loto admin studio" userId="a8e4de7fefc2f42b" providerId="LiveId" clId="{87F32D8D-930E-4B9C-A1D8-503CBB178C3E}" dt="2023-06-11T04:33:13.173" v="621"/>
        <pc:sldMkLst>
          <pc:docMk/>
          <pc:sldMk cId="2749590129" sldId="996"/>
        </pc:sldMkLst>
        <pc:picChg chg="add mod">
          <ac:chgData name="Loto admin studio" userId="a8e4de7fefc2f42b" providerId="LiveId" clId="{87F32D8D-930E-4B9C-A1D8-503CBB178C3E}" dt="2023-06-11T04:33:13.173" v="621"/>
          <ac:picMkLst>
            <pc:docMk/>
            <pc:sldMk cId="2749590129" sldId="996"/>
            <ac:picMk id="4" creationId="{3164B82D-2A4D-2980-A2A9-4981CB5B9AB5}"/>
          </ac:picMkLst>
        </pc:picChg>
        <pc:picChg chg="del">
          <ac:chgData name="Loto admin studio" userId="a8e4de7fefc2f42b" providerId="LiveId" clId="{87F32D8D-930E-4B9C-A1D8-503CBB178C3E}" dt="2023-06-11T04:33:12.695" v="620" actId="478"/>
          <ac:picMkLst>
            <pc:docMk/>
            <pc:sldMk cId="2749590129" sldId="996"/>
            <ac:picMk id="5" creationId="{797E8EE5-3629-DF07-DA84-13A86D2A83FA}"/>
          </ac:picMkLst>
        </pc:picChg>
      </pc:sldChg>
      <pc:sldChg chg="addSp delSp modSp new mod ord">
        <pc:chgData name="Loto admin studio" userId="a8e4de7fefc2f42b" providerId="LiveId" clId="{87F32D8D-930E-4B9C-A1D8-503CBB178C3E}" dt="2023-06-11T04:51:57.928" v="702" actId="20577"/>
        <pc:sldMkLst>
          <pc:docMk/>
          <pc:sldMk cId="1137868771" sldId="997"/>
        </pc:sldMkLst>
        <pc:spChg chg="mod">
          <ac:chgData name="Loto admin studio" userId="a8e4de7fefc2f42b" providerId="LiveId" clId="{87F32D8D-930E-4B9C-A1D8-503CBB178C3E}" dt="2023-06-11T04:38:43.785" v="688" actId="20577"/>
          <ac:spMkLst>
            <pc:docMk/>
            <pc:sldMk cId="1137868771" sldId="997"/>
            <ac:spMk id="2" creationId="{03AC7777-9500-3180-3F71-AE711010EB14}"/>
          </ac:spMkLst>
        </pc:spChg>
        <pc:spChg chg="mod">
          <ac:chgData name="Loto admin studio" userId="a8e4de7fefc2f42b" providerId="LiveId" clId="{87F32D8D-930E-4B9C-A1D8-503CBB178C3E}" dt="2023-06-11T04:38:34.382" v="667" actId="20577"/>
          <ac:spMkLst>
            <pc:docMk/>
            <pc:sldMk cId="1137868771" sldId="997"/>
            <ac:spMk id="3" creationId="{D2117EDC-4578-0CAB-D891-4C659F265F29}"/>
          </ac:spMkLst>
        </pc:spChg>
        <pc:spChg chg="add del mod">
          <ac:chgData name="Loto admin studio" userId="a8e4de7fefc2f42b" providerId="LiveId" clId="{87F32D8D-930E-4B9C-A1D8-503CBB178C3E}" dt="2023-06-11T04:39:58.236" v="697" actId="478"/>
          <ac:spMkLst>
            <pc:docMk/>
            <pc:sldMk cId="1137868771" sldId="997"/>
            <ac:spMk id="6" creationId="{EFD63060-BDE4-6DF7-998F-29716B98E29F}"/>
          </ac:spMkLst>
        </pc:spChg>
        <pc:spChg chg="add mod">
          <ac:chgData name="Loto admin studio" userId="a8e4de7fefc2f42b" providerId="LiveId" clId="{87F32D8D-930E-4B9C-A1D8-503CBB178C3E}" dt="2023-06-11T04:51:57.928" v="702" actId="20577"/>
          <ac:spMkLst>
            <pc:docMk/>
            <pc:sldMk cId="1137868771" sldId="997"/>
            <ac:spMk id="8" creationId="{2B50AC11-CE75-6712-67F2-6B78268C6909}"/>
          </ac:spMkLst>
        </pc:spChg>
        <pc:picChg chg="add mod">
          <ac:chgData name="Loto admin studio" userId="a8e4de7fefc2f42b" providerId="LiveId" clId="{87F32D8D-930E-4B9C-A1D8-503CBB178C3E}" dt="2023-06-11T04:51:49.213" v="699" actId="14100"/>
          <ac:picMkLst>
            <pc:docMk/>
            <pc:sldMk cId="1137868771" sldId="997"/>
            <ac:picMk id="5" creationId="{60212F02-6C22-9BB0-FD5D-45EC45C257F6}"/>
          </ac:picMkLst>
        </pc:picChg>
      </pc:sldChg>
    </pc:docChg>
  </pc:docChgLst>
  <pc:docChgLst>
    <pc:chgData name="Eduard Eugenio Duarte Sepulveda" userId="d6757e78-5d77-4033-bc1e-7634d9cd1525" providerId="ADAL" clId="{A90A929C-CB73-4C9E-A963-2989ED4F3370}"/>
    <pc:docChg chg="undo custSel addSld delSld modSld sldOrd delMainMaster">
      <pc:chgData name="Eduard Eugenio Duarte Sepulveda" userId="d6757e78-5d77-4033-bc1e-7634d9cd1525" providerId="ADAL" clId="{A90A929C-CB73-4C9E-A963-2989ED4F3370}" dt="2023-06-07T23:10:36.497" v="318" actId="732"/>
      <pc:docMkLst>
        <pc:docMk/>
      </pc:docMkLst>
      <pc:sldChg chg="del">
        <pc:chgData name="Eduard Eugenio Duarte Sepulveda" userId="d6757e78-5d77-4033-bc1e-7634d9cd1525" providerId="ADAL" clId="{A90A929C-CB73-4C9E-A963-2989ED4F3370}" dt="2023-06-07T22:07:21.330" v="1" actId="47"/>
        <pc:sldMkLst>
          <pc:docMk/>
          <pc:sldMk cId="1396896027" sldId="260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3409718150" sldId="264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648265720" sldId="265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23768448" sldId="305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1280859528" sldId="324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810944551" sldId="328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766382387" sldId="336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217636796" sldId="344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3515436777" sldId="345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792558552" sldId="357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1426247789" sldId="367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1788449467" sldId="371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4069699740" sldId="373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897807698" sldId="374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3053829060" sldId="376"/>
        </pc:sldMkLst>
      </pc:sldChg>
      <pc:sldChg chg="del">
        <pc:chgData name="Eduard Eugenio Duarte Sepulveda" userId="d6757e78-5d77-4033-bc1e-7634d9cd1525" providerId="ADAL" clId="{A90A929C-CB73-4C9E-A963-2989ED4F3370}" dt="2023-06-07T22:07:59.898" v="4" actId="47"/>
        <pc:sldMkLst>
          <pc:docMk/>
          <pc:sldMk cId="4152345853" sldId="378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036976259" sldId="476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989278067" sldId="487"/>
        </pc:sldMkLst>
      </pc:sldChg>
      <pc:sldChg chg="del">
        <pc:chgData name="Eduard Eugenio Duarte Sepulveda" userId="d6757e78-5d77-4033-bc1e-7634d9cd1525" providerId="ADAL" clId="{A90A929C-CB73-4C9E-A963-2989ED4F3370}" dt="2023-06-07T22:07:21.330" v="1" actId="47"/>
        <pc:sldMkLst>
          <pc:docMk/>
          <pc:sldMk cId="1514492137" sldId="730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654497473" sldId="733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532268468" sldId="734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1184460070" sldId="946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3972480161" sldId="948"/>
        </pc:sldMkLst>
      </pc:sldChg>
      <pc:sldChg chg="del">
        <pc:chgData name="Eduard Eugenio Duarte Sepulveda" userId="d6757e78-5d77-4033-bc1e-7634d9cd1525" providerId="ADAL" clId="{A90A929C-CB73-4C9E-A963-2989ED4F3370}" dt="2023-06-07T22:07:27.511" v="2" actId="47"/>
        <pc:sldMkLst>
          <pc:docMk/>
          <pc:sldMk cId="753985394" sldId="949"/>
        </pc:sldMkLst>
      </pc:sldChg>
      <pc:sldChg chg="del">
        <pc:chgData name="Eduard Eugenio Duarte Sepulveda" userId="d6757e78-5d77-4033-bc1e-7634d9cd1525" providerId="ADAL" clId="{A90A929C-CB73-4C9E-A963-2989ED4F3370}" dt="2023-06-07T22:07:17.727" v="0" actId="47"/>
        <pc:sldMkLst>
          <pc:docMk/>
          <pc:sldMk cId="744811218" sldId="950"/>
        </pc:sldMkLst>
      </pc:sldChg>
      <pc:sldChg chg="del">
        <pc:chgData name="Eduard Eugenio Duarte Sepulveda" userId="d6757e78-5d77-4033-bc1e-7634d9cd1525" providerId="ADAL" clId="{A90A929C-CB73-4C9E-A963-2989ED4F3370}" dt="2023-06-07T22:07:17.727" v="0" actId="47"/>
        <pc:sldMkLst>
          <pc:docMk/>
          <pc:sldMk cId="319641009" sldId="951"/>
        </pc:sldMkLst>
      </pc:sldChg>
      <pc:sldChg chg="addSp delSp modSp mod">
        <pc:chgData name="Eduard Eugenio Duarte Sepulveda" userId="d6757e78-5d77-4033-bc1e-7634d9cd1525" providerId="ADAL" clId="{A90A929C-CB73-4C9E-A963-2989ED4F3370}" dt="2023-06-07T22:15:04.608" v="54" actId="1076"/>
        <pc:sldMkLst>
          <pc:docMk/>
          <pc:sldMk cId="921819595" sldId="952"/>
        </pc:sldMkLst>
        <pc:spChg chg="mod">
          <ac:chgData name="Eduard Eugenio Duarte Sepulveda" userId="d6757e78-5d77-4033-bc1e-7634d9cd1525" providerId="ADAL" clId="{A90A929C-CB73-4C9E-A963-2989ED4F3370}" dt="2023-06-07T22:13:04.984" v="41" actId="20577"/>
          <ac:spMkLst>
            <pc:docMk/>
            <pc:sldMk cId="921819595" sldId="952"/>
            <ac:spMk id="2" creationId="{00000000-0000-0000-0000-000000000000}"/>
          </ac:spMkLst>
        </pc:spChg>
        <pc:spChg chg="add mod">
          <ac:chgData name="Eduard Eugenio Duarte Sepulveda" userId="d6757e78-5d77-4033-bc1e-7634d9cd1525" providerId="ADAL" clId="{A90A929C-CB73-4C9E-A963-2989ED4F3370}" dt="2023-06-07T22:15:04.608" v="54" actId="1076"/>
          <ac:spMkLst>
            <pc:docMk/>
            <pc:sldMk cId="921819595" sldId="952"/>
            <ac:spMk id="3" creationId="{32646018-3BE5-F4D0-D9C1-59BAA4DAB305}"/>
          </ac:spMkLst>
        </pc:spChg>
        <pc:graphicFrameChg chg="del">
          <ac:chgData name="Eduard Eugenio Duarte Sepulveda" userId="d6757e78-5d77-4033-bc1e-7634d9cd1525" providerId="ADAL" clId="{A90A929C-CB73-4C9E-A963-2989ED4F3370}" dt="2023-06-07T22:12:46.057" v="31" actId="478"/>
          <ac:graphicFrameMkLst>
            <pc:docMk/>
            <pc:sldMk cId="921819595" sldId="952"/>
            <ac:graphicFrameMk id="10" creationId="{4B197A4A-617D-2089-B32E-DC4ED442C2A4}"/>
          </ac:graphicFrameMkLst>
        </pc:graphicFrameChg>
        <pc:graphicFrameChg chg="del">
          <ac:chgData name="Eduard Eugenio Duarte Sepulveda" userId="d6757e78-5d77-4033-bc1e-7634d9cd1525" providerId="ADAL" clId="{A90A929C-CB73-4C9E-A963-2989ED4F3370}" dt="2023-06-07T22:12:40.357" v="30" actId="478"/>
          <ac:graphicFrameMkLst>
            <pc:docMk/>
            <pc:sldMk cId="921819595" sldId="952"/>
            <ac:graphicFrameMk id="11" creationId="{C5979CF0-959F-22DC-5392-4636E611706D}"/>
          </ac:graphicFrameMkLst>
        </pc:graphicFrameChg>
        <pc:picChg chg="add mod">
          <ac:chgData name="Eduard Eugenio Duarte Sepulveda" userId="d6757e78-5d77-4033-bc1e-7634d9cd1525" providerId="ADAL" clId="{A90A929C-CB73-4C9E-A963-2989ED4F3370}" dt="2023-06-07T22:13:49.801" v="43" actId="1076"/>
          <ac:picMkLst>
            <pc:docMk/>
            <pc:sldMk cId="921819595" sldId="952"/>
            <ac:picMk id="1026" creationId="{0C0763E5-57D8-CDB1-5072-81770C51C089}"/>
          </ac:picMkLst>
        </pc:picChg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2004194361" sldId="953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4134234717" sldId="954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1650415521" sldId="955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3529010539" sldId="956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95291220" sldId="957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3513806675" sldId="958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1993803231" sldId="959"/>
        </pc:sldMkLst>
      </pc:sldChg>
      <pc:sldChg chg="del">
        <pc:chgData name="Eduard Eugenio Duarte Sepulveda" userId="d6757e78-5d77-4033-bc1e-7634d9cd1525" providerId="ADAL" clId="{A90A929C-CB73-4C9E-A963-2989ED4F3370}" dt="2023-06-07T22:07:55.700" v="3" actId="47"/>
        <pc:sldMkLst>
          <pc:docMk/>
          <pc:sldMk cId="3427809583" sldId="960"/>
        </pc:sldMkLst>
      </pc:sldChg>
      <pc:sldChg chg="del">
        <pc:chgData name="Eduard Eugenio Duarte Sepulveda" userId="d6757e78-5d77-4033-bc1e-7634d9cd1525" providerId="ADAL" clId="{A90A929C-CB73-4C9E-A963-2989ED4F3370}" dt="2023-06-07T22:07:17.727" v="0" actId="47"/>
        <pc:sldMkLst>
          <pc:docMk/>
          <pc:sldMk cId="2923769366" sldId="961"/>
        </pc:sldMkLst>
      </pc:sldChg>
      <pc:sldChg chg="del">
        <pc:chgData name="Eduard Eugenio Duarte Sepulveda" userId="d6757e78-5d77-4033-bc1e-7634d9cd1525" providerId="ADAL" clId="{A90A929C-CB73-4C9E-A963-2989ED4F3370}" dt="2023-06-07T23:09:18.536" v="297" actId="47"/>
        <pc:sldMkLst>
          <pc:docMk/>
          <pc:sldMk cId="1709197187" sldId="963"/>
        </pc:sldMkLst>
      </pc:sldChg>
      <pc:sldChg chg="addSp delSp modSp add mod">
        <pc:chgData name="Eduard Eugenio Duarte Sepulveda" userId="d6757e78-5d77-4033-bc1e-7634d9cd1525" providerId="ADAL" clId="{A90A929C-CB73-4C9E-A963-2989ED4F3370}" dt="2023-06-07T22:12:28.389" v="29" actId="1076"/>
        <pc:sldMkLst>
          <pc:docMk/>
          <pc:sldMk cId="1108625636" sldId="964"/>
        </pc:sldMkLst>
        <pc:spChg chg="mod">
          <ac:chgData name="Eduard Eugenio Duarte Sepulveda" userId="d6757e78-5d77-4033-bc1e-7634d9cd1525" providerId="ADAL" clId="{A90A929C-CB73-4C9E-A963-2989ED4F3370}" dt="2023-06-07T22:12:28.389" v="29" actId="1076"/>
          <ac:spMkLst>
            <pc:docMk/>
            <pc:sldMk cId="1108625636" sldId="964"/>
            <ac:spMk id="22" creationId="{75878B57-5637-8036-000D-FB4734CBE61A}"/>
          </ac:spMkLst>
        </pc:spChg>
        <pc:graphicFrameChg chg="mod">
          <ac:chgData name="Eduard Eugenio Duarte Sepulveda" userId="d6757e78-5d77-4033-bc1e-7634d9cd1525" providerId="ADAL" clId="{A90A929C-CB73-4C9E-A963-2989ED4F3370}" dt="2023-06-07T22:12:24.820" v="28" actId="1076"/>
          <ac:graphicFrameMkLst>
            <pc:docMk/>
            <pc:sldMk cId="1108625636" sldId="964"/>
            <ac:graphicFrameMk id="27" creationId="{CA3A3CF9-44B2-27FA-271D-841E4656AB07}"/>
          </ac:graphicFrameMkLst>
        </pc:graphicFrameChg>
        <pc:graphicFrameChg chg="add del">
          <ac:chgData name="Eduard Eugenio Duarte Sepulveda" userId="d6757e78-5d77-4033-bc1e-7634d9cd1525" providerId="ADAL" clId="{A90A929C-CB73-4C9E-A963-2989ED4F3370}" dt="2023-06-07T22:08:39.905" v="8" actId="478"/>
          <ac:graphicFrameMkLst>
            <pc:docMk/>
            <pc:sldMk cId="1108625636" sldId="964"/>
            <ac:graphicFrameMk id="28" creationId="{92C2B34F-D48B-F5D9-C7B6-252A636B766C}"/>
          </ac:graphicFrameMkLst>
        </pc:graphicFrameChg>
        <pc:graphicFrameChg chg="del mod">
          <ac:chgData name="Eduard Eugenio Duarte Sepulveda" userId="d6757e78-5d77-4033-bc1e-7634d9cd1525" providerId="ADAL" clId="{A90A929C-CB73-4C9E-A963-2989ED4F3370}" dt="2023-06-07T22:08:44.592" v="11" actId="478"/>
          <ac:graphicFrameMkLst>
            <pc:docMk/>
            <pc:sldMk cId="1108625636" sldId="964"/>
            <ac:graphicFrameMk id="30" creationId="{CEB5E74D-0F48-8F03-DE90-71211BA09FAF}"/>
          </ac:graphicFrameMkLst>
        </pc:graphicFrameChg>
      </pc:sldChg>
      <pc:sldChg chg="addSp delSp modSp add mod">
        <pc:chgData name="Eduard Eugenio Duarte Sepulveda" userId="d6757e78-5d77-4033-bc1e-7634d9cd1525" providerId="ADAL" clId="{A90A929C-CB73-4C9E-A963-2989ED4F3370}" dt="2023-06-07T22:18:42.144" v="77" actId="14100"/>
        <pc:sldMkLst>
          <pc:docMk/>
          <pc:sldMk cId="2613272520" sldId="965"/>
        </pc:sldMkLst>
        <pc:spChg chg="del mod">
          <ac:chgData name="Eduard Eugenio Duarte Sepulveda" userId="d6757e78-5d77-4033-bc1e-7634d9cd1525" providerId="ADAL" clId="{A90A929C-CB73-4C9E-A963-2989ED4F3370}" dt="2023-06-07T22:17:47.386" v="67" actId="478"/>
          <ac:spMkLst>
            <pc:docMk/>
            <pc:sldMk cId="2613272520" sldId="965"/>
            <ac:spMk id="3" creationId="{32646018-3BE5-F4D0-D9C1-59BAA4DAB305}"/>
          </ac:spMkLst>
        </pc:spChg>
        <pc:picChg chg="del">
          <ac:chgData name="Eduard Eugenio Duarte Sepulveda" userId="d6757e78-5d77-4033-bc1e-7634d9cd1525" providerId="ADAL" clId="{A90A929C-CB73-4C9E-A963-2989ED4F3370}" dt="2023-06-07T22:17:43.003" v="65" actId="478"/>
          <ac:picMkLst>
            <pc:docMk/>
            <pc:sldMk cId="2613272520" sldId="965"/>
            <ac:picMk id="1026" creationId="{0C0763E5-57D8-CDB1-5072-81770C51C089}"/>
          </ac:picMkLst>
        </pc:picChg>
        <pc:picChg chg="add mod">
          <ac:chgData name="Eduard Eugenio Duarte Sepulveda" userId="d6757e78-5d77-4033-bc1e-7634d9cd1525" providerId="ADAL" clId="{A90A929C-CB73-4C9E-A963-2989ED4F3370}" dt="2023-06-07T22:18:37.642" v="75" actId="1076"/>
          <ac:picMkLst>
            <pc:docMk/>
            <pc:sldMk cId="2613272520" sldId="965"/>
            <ac:picMk id="3074" creationId="{D4E9BED1-5586-3552-855D-F5213E737E5E}"/>
          </ac:picMkLst>
        </pc:picChg>
        <pc:picChg chg="add mod">
          <ac:chgData name="Eduard Eugenio Duarte Sepulveda" userId="d6757e78-5d77-4033-bc1e-7634d9cd1525" providerId="ADAL" clId="{A90A929C-CB73-4C9E-A963-2989ED4F3370}" dt="2023-06-07T22:18:42.144" v="77" actId="14100"/>
          <ac:picMkLst>
            <pc:docMk/>
            <pc:sldMk cId="2613272520" sldId="965"/>
            <ac:picMk id="3076" creationId="{B6FEC353-C437-BFAD-6578-95466B59A0AF}"/>
          </ac:picMkLst>
        </pc:picChg>
      </pc:sldChg>
      <pc:sldChg chg="addSp delSp modSp add mod">
        <pc:chgData name="Eduard Eugenio Duarte Sepulveda" userId="d6757e78-5d77-4033-bc1e-7634d9cd1525" providerId="ADAL" clId="{A90A929C-CB73-4C9E-A963-2989ED4F3370}" dt="2023-06-07T22:48:12.999" v="245" actId="20577"/>
        <pc:sldMkLst>
          <pc:docMk/>
          <pc:sldMk cId="500346747" sldId="966"/>
        </pc:sldMkLst>
        <pc:spChg chg="mod">
          <ac:chgData name="Eduard Eugenio Duarte Sepulveda" userId="d6757e78-5d77-4033-bc1e-7634d9cd1525" providerId="ADAL" clId="{A90A929C-CB73-4C9E-A963-2989ED4F3370}" dt="2023-06-07T22:48:12.999" v="245" actId="20577"/>
          <ac:spMkLst>
            <pc:docMk/>
            <pc:sldMk cId="500346747" sldId="966"/>
            <ac:spMk id="2" creationId="{00000000-0000-0000-0000-000000000000}"/>
          </ac:spMkLst>
        </pc:spChg>
        <pc:spChg chg="del">
          <ac:chgData name="Eduard Eugenio Duarte Sepulveda" userId="d6757e78-5d77-4033-bc1e-7634d9cd1525" providerId="ADAL" clId="{A90A929C-CB73-4C9E-A963-2989ED4F3370}" dt="2023-06-07T22:16:29.412" v="60" actId="478"/>
          <ac:spMkLst>
            <pc:docMk/>
            <pc:sldMk cId="500346747" sldId="966"/>
            <ac:spMk id="3" creationId="{32646018-3BE5-F4D0-D9C1-59BAA4DAB305}"/>
          </ac:spMkLst>
        </pc:spChg>
        <pc:spChg chg="del">
          <ac:chgData name="Eduard Eugenio Duarte Sepulveda" userId="d6757e78-5d77-4033-bc1e-7634d9cd1525" providerId="ADAL" clId="{A90A929C-CB73-4C9E-A963-2989ED4F3370}" dt="2023-06-07T22:16:29.412" v="60" actId="478"/>
          <ac:spMkLst>
            <pc:docMk/>
            <pc:sldMk cId="500346747" sldId="966"/>
            <ac:spMk id="12" creationId="{BB31D6B1-017E-DE90-B336-F8684FFC6A77}"/>
          </ac:spMkLst>
        </pc:spChg>
        <pc:picChg chg="del">
          <ac:chgData name="Eduard Eugenio Duarte Sepulveda" userId="d6757e78-5d77-4033-bc1e-7634d9cd1525" providerId="ADAL" clId="{A90A929C-CB73-4C9E-A963-2989ED4F3370}" dt="2023-06-07T22:16:14.368" v="57" actId="478"/>
          <ac:picMkLst>
            <pc:docMk/>
            <pc:sldMk cId="500346747" sldId="966"/>
            <ac:picMk id="1026" creationId="{0C0763E5-57D8-CDB1-5072-81770C51C089}"/>
          </ac:picMkLst>
        </pc:picChg>
        <pc:picChg chg="add mod">
          <ac:chgData name="Eduard Eugenio Duarte Sepulveda" userId="d6757e78-5d77-4033-bc1e-7634d9cd1525" providerId="ADAL" clId="{A90A929C-CB73-4C9E-A963-2989ED4F3370}" dt="2023-06-07T22:16:44.776" v="63" actId="1076"/>
          <ac:picMkLst>
            <pc:docMk/>
            <pc:sldMk cId="500346747" sldId="966"/>
            <ac:picMk id="2050" creationId="{0B5F81F9-1DE8-916A-E9D7-D8E272C7EC23}"/>
          </ac:picMkLst>
        </pc:picChg>
      </pc:sldChg>
      <pc:sldChg chg="addSp delSp modSp add mod">
        <pc:chgData name="Eduard Eugenio Duarte Sepulveda" userId="d6757e78-5d77-4033-bc1e-7634d9cd1525" providerId="ADAL" clId="{A90A929C-CB73-4C9E-A963-2989ED4F3370}" dt="2023-06-07T22:22:42.691" v="92" actId="1076"/>
        <pc:sldMkLst>
          <pc:docMk/>
          <pc:sldMk cId="152689550" sldId="967"/>
        </pc:sldMkLst>
        <pc:spChg chg="del">
          <ac:chgData name="Eduard Eugenio Duarte Sepulveda" userId="d6757e78-5d77-4033-bc1e-7634d9cd1525" providerId="ADAL" clId="{A90A929C-CB73-4C9E-A963-2989ED4F3370}" dt="2023-06-07T22:21:39.485" v="84" actId="478"/>
          <ac:spMkLst>
            <pc:docMk/>
            <pc:sldMk cId="152689550" sldId="967"/>
            <ac:spMk id="3" creationId="{32646018-3BE5-F4D0-D9C1-59BAA4DAB305}"/>
          </ac:spMkLst>
        </pc:spChg>
        <pc:spChg chg="del">
          <ac:chgData name="Eduard Eugenio Duarte Sepulveda" userId="d6757e78-5d77-4033-bc1e-7634d9cd1525" providerId="ADAL" clId="{A90A929C-CB73-4C9E-A963-2989ED4F3370}" dt="2023-06-07T22:21:41.756" v="85" actId="478"/>
          <ac:spMkLst>
            <pc:docMk/>
            <pc:sldMk cId="152689550" sldId="967"/>
            <ac:spMk id="12" creationId="{BB31D6B1-017E-DE90-B336-F8684FFC6A77}"/>
          </ac:spMkLst>
        </pc:spChg>
        <pc:picChg chg="del">
          <ac:chgData name="Eduard Eugenio Duarte Sepulveda" userId="d6757e78-5d77-4033-bc1e-7634d9cd1525" providerId="ADAL" clId="{A90A929C-CB73-4C9E-A963-2989ED4F3370}" dt="2023-06-07T22:21:23.462" v="79" actId="478"/>
          <ac:picMkLst>
            <pc:docMk/>
            <pc:sldMk cId="152689550" sldId="967"/>
            <ac:picMk id="1026" creationId="{0C0763E5-57D8-CDB1-5072-81770C51C089}"/>
          </ac:picMkLst>
        </pc:picChg>
        <pc:picChg chg="add mod">
          <ac:chgData name="Eduard Eugenio Duarte Sepulveda" userId="d6757e78-5d77-4033-bc1e-7634d9cd1525" providerId="ADAL" clId="{A90A929C-CB73-4C9E-A963-2989ED4F3370}" dt="2023-06-07T22:21:49.371" v="87" actId="1076"/>
          <ac:picMkLst>
            <pc:docMk/>
            <pc:sldMk cId="152689550" sldId="967"/>
            <ac:picMk id="4098" creationId="{F8149640-3B40-E999-6243-88C0F39E505C}"/>
          </ac:picMkLst>
        </pc:picChg>
        <pc:picChg chg="add mod">
          <ac:chgData name="Eduard Eugenio Duarte Sepulveda" userId="d6757e78-5d77-4033-bc1e-7634d9cd1525" providerId="ADAL" clId="{A90A929C-CB73-4C9E-A963-2989ED4F3370}" dt="2023-06-07T22:22:42.691" v="92" actId="1076"/>
          <ac:picMkLst>
            <pc:docMk/>
            <pc:sldMk cId="152689550" sldId="967"/>
            <ac:picMk id="4100" creationId="{2B1E629D-7B10-A06A-54C3-1A983B6461B6}"/>
          </ac:picMkLst>
        </pc:picChg>
      </pc:sldChg>
      <pc:sldChg chg="addSp delSp modSp add mod">
        <pc:chgData name="Eduard Eugenio Duarte Sepulveda" userId="d6757e78-5d77-4033-bc1e-7634d9cd1525" providerId="ADAL" clId="{A90A929C-CB73-4C9E-A963-2989ED4F3370}" dt="2023-06-07T22:29:59.655" v="143" actId="14100"/>
        <pc:sldMkLst>
          <pc:docMk/>
          <pc:sldMk cId="1367412458" sldId="968"/>
        </pc:sldMkLst>
        <pc:spChg chg="mod">
          <ac:chgData name="Eduard Eugenio Duarte Sepulveda" userId="d6757e78-5d77-4033-bc1e-7634d9cd1525" providerId="ADAL" clId="{A90A929C-CB73-4C9E-A963-2989ED4F3370}" dt="2023-06-07T22:28:18.976" v="137" actId="20577"/>
          <ac:spMkLst>
            <pc:docMk/>
            <pc:sldMk cId="1367412458" sldId="968"/>
            <ac:spMk id="2" creationId="{00000000-0000-0000-0000-000000000000}"/>
          </ac:spMkLst>
        </pc:spChg>
        <pc:spChg chg="del">
          <ac:chgData name="Eduard Eugenio Duarte Sepulveda" userId="d6757e78-5d77-4033-bc1e-7634d9cd1525" providerId="ADAL" clId="{A90A929C-CB73-4C9E-A963-2989ED4F3370}" dt="2023-06-07T22:28:13.753" v="130" actId="478"/>
          <ac:spMkLst>
            <pc:docMk/>
            <pc:sldMk cId="1367412458" sldId="968"/>
            <ac:spMk id="3" creationId="{32646018-3BE5-F4D0-D9C1-59BAA4DAB305}"/>
          </ac:spMkLst>
        </pc:spChg>
        <pc:picChg chg="del">
          <ac:chgData name="Eduard Eugenio Duarte Sepulveda" userId="d6757e78-5d77-4033-bc1e-7634d9cd1525" providerId="ADAL" clId="{A90A929C-CB73-4C9E-A963-2989ED4F3370}" dt="2023-06-07T22:28:09.386" v="129" actId="478"/>
          <ac:picMkLst>
            <pc:docMk/>
            <pc:sldMk cId="1367412458" sldId="968"/>
            <ac:picMk id="1026" creationId="{0C0763E5-57D8-CDB1-5072-81770C51C089}"/>
          </ac:picMkLst>
        </pc:picChg>
        <pc:picChg chg="add mod">
          <ac:chgData name="Eduard Eugenio Duarte Sepulveda" userId="d6757e78-5d77-4033-bc1e-7634d9cd1525" providerId="ADAL" clId="{A90A929C-CB73-4C9E-A963-2989ED4F3370}" dt="2023-06-07T22:29:59.655" v="143" actId="14100"/>
          <ac:picMkLst>
            <pc:docMk/>
            <pc:sldMk cId="1367412458" sldId="968"/>
            <ac:picMk id="6146" creationId="{7C3B9DC6-2373-32A7-EC9C-CD38C847E00B}"/>
          </ac:picMkLst>
        </pc:picChg>
      </pc:sldChg>
      <pc:sldChg chg="addSp delSp modSp add">
        <pc:chgData name="Eduard Eugenio Duarte Sepulveda" userId="d6757e78-5d77-4033-bc1e-7634d9cd1525" providerId="ADAL" clId="{A90A929C-CB73-4C9E-A963-2989ED4F3370}" dt="2023-06-07T22:23:44.394" v="100" actId="1036"/>
        <pc:sldMkLst>
          <pc:docMk/>
          <pc:sldMk cId="2051662502" sldId="969"/>
        </pc:sldMkLst>
        <pc:picChg chg="del">
          <ac:chgData name="Eduard Eugenio Duarte Sepulveda" userId="d6757e78-5d77-4033-bc1e-7634d9cd1525" providerId="ADAL" clId="{A90A929C-CB73-4C9E-A963-2989ED4F3370}" dt="2023-06-07T22:23:27.510" v="95" actId="478"/>
          <ac:picMkLst>
            <pc:docMk/>
            <pc:sldMk cId="2051662502" sldId="969"/>
            <ac:picMk id="4100" creationId="{2B1E629D-7B10-A06A-54C3-1A983B6461B6}"/>
          </ac:picMkLst>
        </pc:picChg>
        <pc:picChg chg="add mod">
          <ac:chgData name="Eduard Eugenio Duarte Sepulveda" userId="d6757e78-5d77-4033-bc1e-7634d9cd1525" providerId="ADAL" clId="{A90A929C-CB73-4C9E-A963-2989ED4F3370}" dt="2023-06-07T22:23:44.394" v="100" actId="1036"/>
          <ac:picMkLst>
            <pc:docMk/>
            <pc:sldMk cId="2051662502" sldId="969"/>
            <ac:picMk id="5122" creationId="{E1B76741-1DF1-A2C3-05EE-BC01944B26EC}"/>
          </ac:picMkLst>
        </pc:picChg>
      </pc:sldChg>
      <pc:sldChg chg="addSp delSp modSp add mod">
        <pc:chgData name="Eduard Eugenio Duarte Sepulveda" userId="d6757e78-5d77-4033-bc1e-7634d9cd1525" providerId="ADAL" clId="{A90A929C-CB73-4C9E-A963-2989ED4F3370}" dt="2023-06-07T22:25:49.497" v="126" actId="1038"/>
        <pc:sldMkLst>
          <pc:docMk/>
          <pc:sldMk cId="3231254194" sldId="970"/>
        </pc:sldMkLst>
        <pc:spChg chg="add del mod">
          <ac:chgData name="Eduard Eugenio Duarte Sepulveda" userId="d6757e78-5d77-4033-bc1e-7634d9cd1525" providerId="ADAL" clId="{A90A929C-CB73-4C9E-A963-2989ED4F3370}" dt="2023-06-07T22:25:32.709" v="107" actId="478"/>
          <ac:spMkLst>
            <pc:docMk/>
            <pc:sldMk cId="3231254194" sldId="970"/>
            <ac:spMk id="6" creationId="{6CFEBF55-8FE7-F5A3-A0DF-C9730418A907}"/>
          </ac:spMkLst>
        </pc:spChg>
        <pc:spChg chg="del">
          <ac:chgData name="Eduard Eugenio Duarte Sepulveda" userId="d6757e78-5d77-4033-bc1e-7634d9cd1525" providerId="ADAL" clId="{A90A929C-CB73-4C9E-A963-2989ED4F3370}" dt="2023-06-07T22:25:29.709" v="106" actId="478"/>
          <ac:spMkLst>
            <pc:docMk/>
            <pc:sldMk cId="3231254194" sldId="970"/>
            <ac:spMk id="19" creationId="{00000000-0000-0000-0000-000000000000}"/>
          </ac:spMkLst>
        </pc:spChg>
        <pc:picChg chg="add mod">
          <ac:chgData name="Eduard Eugenio Duarte Sepulveda" userId="d6757e78-5d77-4033-bc1e-7634d9cd1525" providerId="ADAL" clId="{A90A929C-CB73-4C9E-A963-2989ED4F3370}" dt="2023-06-07T22:25:37.715" v="108" actId="14100"/>
          <ac:picMkLst>
            <pc:docMk/>
            <pc:sldMk cId="3231254194" sldId="970"/>
            <ac:picMk id="4" creationId="{231EF1D0-4DC7-5BC0-452A-E8F5BCA16C2B}"/>
          </ac:picMkLst>
        </pc:picChg>
        <pc:picChg chg="mod">
          <ac:chgData name="Eduard Eugenio Duarte Sepulveda" userId="d6757e78-5d77-4033-bc1e-7634d9cd1525" providerId="ADAL" clId="{A90A929C-CB73-4C9E-A963-2989ED4F3370}" dt="2023-06-07T22:25:49.497" v="126" actId="1038"/>
          <ac:picMkLst>
            <pc:docMk/>
            <pc:sldMk cId="3231254194" sldId="970"/>
            <ac:picMk id="4098" creationId="{F8149640-3B40-E999-6243-88C0F39E505C}"/>
          </ac:picMkLst>
        </pc:picChg>
        <pc:picChg chg="del mod">
          <ac:chgData name="Eduard Eugenio Duarte Sepulveda" userId="d6757e78-5d77-4033-bc1e-7634d9cd1525" providerId="ADAL" clId="{A90A929C-CB73-4C9E-A963-2989ED4F3370}" dt="2023-06-07T22:24:29.968" v="102" actId="478"/>
          <ac:picMkLst>
            <pc:docMk/>
            <pc:sldMk cId="3231254194" sldId="970"/>
            <ac:picMk id="4100" creationId="{2B1E629D-7B10-A06A-54C3-1A983B6461B6}"/>
          </ac:picMkLst>
        </pc:picChg>
      </pc:sldChg>
      <pc:sldChg chg="add">
        <pc:chgData name="Eduard Eugenio Duarte Sepulveda" userId="d6757e78-5d77-4033-bc1e-7634d9cd1525" providerId="ADAL" clId="{A90A929C-CB73-4C9E-A963-2989ED4F3370}" dt="2023-06-07T22:28:03.242" v="127" actId="2890"/>
        <pc:sldMkLst>
          <pc:docMk/>
          <pc:sldMk cId="3728857223" sldId="971"/>
        </pc:sldMkLst>
      </pc:sldChg>
      <pc:sldChg chg="addSp delSp modSp add mod">
        <pc:chgData name="Eduard Eugenio Duarte Sepulveda" userId="d6757e78-5d77-4033-bc1e-7634d9cd1525" providerId="ADAL" clId="{A90A929C-CB73-4C9E-A963-2989ED4F3370}" dt="2023-06-07T23:00:11.806" v="296" actId="1076"/>
        <pc:sldMkLst>
          <pc:docMk/>
          <pc:sldMk cId="3033696917" sldId="972"/>
        </pc:sldMkLst>
        <pc:spChg chg="mod">
          <ac:chgData name="Eduard Eugenio Duarte Sepulveda" userId="d6757e78-5d77-4033-bc1e-7634d9cd1525" providerId="ADAL" clId="{A90A929C-CB73-4C9E-A963-2989ED4F3370}" dt="2023-06-07T22:52:10.468" v="288" actId="313"/>
          <ac:spMkLst>
            <pc:docMk/>
            <pc:sldMk cId="3033696917" sldId="972"/>
            <ac:spMk id="2" creationId="{00000000-0000-0000-0000-000000000000}"/>
          </ac:spMkLst>
        </pc:spChg>
        <pc:spChg chg="del">
          <ac:chgData name="Eduard Eugenio Duarte Sepulveda" userId="d6757e78-5d77-4033-bc1e-7634d9cd1525" providerId="ADAL" clId="{A90A929C-CB73-4C9E-A963-2989ED4F3370}" dt="2023-06-07T22:52:34.268" v="289" actId="478"/>
          <ac:spMkLst>
            <pc:docMk/>
            <pc:sldMk cId="3033696917" sldId="972"/>
            <ac:spMk id="3" creationId="{32646018-3BE5-F4D0-D9C1-59BAA4DAB305}"/>
          </ac:spMkLst>
        </pc:spChg>
        <pc:spChg chg="add mod">
          <ac:chgData name="Eduard Eugenio Duarte Sepulveda" userId="d6757e78-5d77-4033-bc1e-7634d9cd1525" providerId="ADAL" clId="{A90A929C-CB73-4C9E-A963-2989ED4F3370}" dt="2023-06-07T23:00:07.697" v="295" actId="1076"/>
          <ac:spMkLst>
            <pc:docMk/>
            <pc:sldMk cId="3033696917" sldId="972"/>
            <ac:spMk id="5" creationId="{559A5946-C343-8F67-E5ED-DD3E7AF3EC3D}"/>
          </ac:spMkLst>
        </pc:spChg>
        <pc:picChg chg="add mod">
          <ac:chgData name="Eduard Eugenio Duarte Sepulveda" userId="d6757e78-5d77-4033-bc1e-7634d9cd1525" providerId="ADAL" clId="{A90A929C-CB73-4C9E-A963-2989ED4F3370}" dt="2023-06-07T23:00:11.806" v="296" actId="1076"/>
          <ac:picMkLst>
            <pc:docMk/>
            <pc:sldMk cId="3033696917" sldId="972"/>
            <ac:picMk id="7" creationId="{FCB1FDC8-A0E3-C96C-A45F-33C4326A45C5}"/>
          </ac:picMkLst>
        </pc:picChg>
        <pc:picChg chg="del">
          <ac:chgData name="Eduard Eugenio Duarte Sepulveda" userId="d6757e78-5d77-4033-bc1e-7634d9cd1525" providerId="ADAL" clId="{A90A929C-CB73-4C9E-A963-2989ED4F3370}" dt="2023-06-07T22:52:04.461" v="287" actId="478"/>
          <ac:picMkLst>
            <pc:docMk/>
            <pc:sldMk cId="3033696917" sldId="972"/>
            <ac:picMk id="1026" creationId="{0C0763E5-57D8-CDB1-5072-81770C51C089}"/>
          </ac:picMkLst>
        </pc:picChg>
      </pc:sldChg>
      <pc:sldChg chg="addSp delSp modSp add ord">
        <pc:chgData name="Eduard Eugenio Duarte Sepulveda" userId="d6757e78-5d77-4033-bc1e-7634d9cd1525" providerId="ADAL" clId="{A90A929C-CB73-4C9E-A963-2989ED4F3370}" dt="2023-06-07T22:39:04.983" v="173"/>
        <pc:sldMkLst>
          <pc:docMk/>
          <pc:sldMk cId="3931734496" sldId="973"/>
        </pc:sldMkLst>
        <pc:picChg chg="del">
          <ac:chgData name="Eduard Eugenio Duarte Sepulveda" userId="d6757e78-5d77-4033-bc1e-7634d9cd1525" providerId="ADAL" clId="{A90A929C-CB73-4C9E-A963-2989ED4F3370}" dt="2023-06-07T22:30:13.265" v="145" actId="478"/>
          <ac:picMkLst>
            <pc:docMk/>
            <pc:sldMk cId="3931734496" sldId="973"/>
            <ac:picMk id="6146" creationId="{7C3B9DC6-2373-32A7-EC9C-CD38C847E00B}"/>
          </ac:picMkLst>
        </pc:picChg>
        <pc:picChg chg="add mod">
          <ac:chgData name="Eduard Eugenio Duarte Sepulveda" userId="d6757e78-5d77-4033-bc1e-7634d9cd1525" providerId="ADAL" clId="{A90A929C-CB73-4C9E-A963-2989ED4F3370}" dt="2023-06-07T22:30:48.071" v="150" actId="1076"/>
          <ac:picMkLst>
            <pc:docMk/>
            <pc:sldMk cId="3931734496" sldId="973"/>
            <ac:picMk id="7170" creationId="{F7AF2BEE-0D9C-D97E-91A7-27B3794825B2}"/>
          </ac:picMkLst>
        </pc:picChg>
      </pc:sldChg>
      <pc:sldChg chg="addSp modSp add">
        <pc:chgData name="Eduard Eugenio Duarte Sepulveda" userId="d6757e78-5d77-4033-bc1e-7634d9cd1525" providerId="ADAL" clId="{A90A929C-CB73-4C9E-A963-2989ED4F3370}" dt="2023-06-07T22:42:47.119" v="196" actId="1076"/>
        <pc:sldMkLst>
          <pc:docMk/>
          <pc:sldMk cId="2876213795" sldId="974"/>
        </pc:sldMkLst>
        <pc:picChg chg="add mod">
          <ac:chgData name="Eduard Eugenio Duarte Sepulveda" userId="d6757e78-5d77-4033-bc1e-7634d9cd1525" providerId="ADAL" clId="{A90A929C-CB73-4C9E-A963-2989ED4F3370}" dt="2023-06-07T22:42:47.119" v="196" actId="1076"/>
          <ac:picMkLst>
            <pc:docMk/>
            <pc:sldMk cId="2876213795" sldId="974"/>
            <ac:picMk id="11266" creationId="{200C321A-A242-745D-3109-F6BB7F530236}"/>
          </ac:picMkLst>
        </pc:picChg>
      </pc:sldChg>
      <pc:sldChg chg="addSp add">
        <pc:chgData name="Eduard Eugenio Duarte Sepulveda" userId="d6757e78-5d77-4033-bc1e-7634d9cd1525" providerId="ADAL" clId="{A90A929C-CB73-4C9E-A963-2989ED4F3370}" dt="2023-06-07T22:38:55.873" v="169"/>
        <pc:sldMkLst>
          <pc:docMk/>
          <pc:sldMk cId="1562724591" sldId="975"/>
        </pc:sldMkLst>
        <pc:picChg chg="add">
          <ac:chgData name="Eduard Eugenio Duarte Sepulveda" userId="d6757e78-5d77-4033-bc1e-7634d9cd1525" providerId="ADAL" clId="{A90A929C-CB73-4C9E-A963-2989ED4F3370}" dt="2023-06-07T22:38:55.873" v="169"/>
          <ac:picMkLst>
            <pc:docMk/>
            <pc:sldMk cId="1562724591" sldId="975"/>
            <ac:picMk id="10242" creationId="{844BE424-AAD3-1590-94DC-6DD494DA7429}"/>
          </ac:picMkLst>
        </pc:picChg>
      </pc:sldChg>
      <pc:sldChg chg="addSp delSp modSp add ord">
        <pc:chgData name="Eduard Eugenio Duarte Sepulveda" userId="d6757e78-5d77-4033-bc1e-7634d9cd1525" providerId="ADAL" clId="{A90A929C-CB73-4C9E-A963-2989ED4F3370}" dt="2023-06-07T22:38:59.204" v="171"/>
        <pc:sldMkLst>
          <pc:docMk/>
          <pc:sldMk cId="320529513" sldId="976"/>
        </pc:sldMkLst>
        <pc:spChg chg="add del">
          <ac:chgData name="Eduard Eugenio Duarte Sepulveda" userId="d6757e78-5d77-4033-bc1e-7634d9cd1525" providerId="ADAL" clId="{A90A929C-CB73-4C9E-A963-2989ED4F3370}" dt="2023-06-07T22:34:25.307" v="160" actId="478"/>
          <ac:spMkLst>
            <pc:docMk/>
            <pc:sldMk cId="320529513" sldId="976"/>
            <ac:spMk id="3" creationId="{FE045A5A-71EB-B410-B532-3324C850A831}"/>
          </ac:spMkLst>
        </pc:spChg>
        <pc:spChg chg="add del mod">
          <ac:chgData name="Eduard Eugenio Duarte Sepulveda" userId="d6757e78-5d77-4033-bc1e-7634d9cd1525" providerId="ADAL" clId="{A90A929C-CB73-4C9E-A963-2989ED4F3370}" dt="2023-06-07T22:35:14.248" v="163" actId="478"/>
          <ac:spMkLst>
            <pc:docMk/>
            <pc:sldMk cId="320529513" sldId="976"/>
            <ac:spMk id="4" creationId="{E47CE7D6-0D83-E0C5-371D-0DDC01089BEE}"/>
          </ac:spMkLst>
        </pc:spChg>
        <pc:picChg chg="add mod">
          <ac:chgData name="Eduard Eugenio Duarte Sepulveda" userId="d6757e78-5d77-4033-bc1e-7634d9cd1525" providerId="ADAL" clId="{A90A929C-CB73-4C9E-A963-2989ED4F3370}" dt="2023-06-07T22:38:10.957" v="168" actId="14100"/>
          <ac:picMkLst>
            <pc:docMk/>
            <pc:sldMk cId="320529513" sldId="976"/>
            <ac:picMk id="9222" creationId="{4DE99FB2-71A0-22E8-D44E-7EC0E8BBB4CA}"/>
          </ac:picMkLst>
        </pc:picChg>
      </pc:sldChg>
      <pc:sldChg chg="addSp delSp modSp add">
        <pc:chgData name="Eduard Eugenio Duarte Sepulveda" userId="d6757e78-5d77-4033-bc1e-7634d9cd1525" providerId="ADAL" clId="{A90A929C-CB73-4C9E-A963-2989ED4F3370}" dt="2023-06-07T22:33:04.954" v="157" actId="1076"/>
        <pc:sldMkLst>
          <pc:docMk/>
          <pc:sldMk cId="1538805589" sldId="977"/>
        </pc:sldMkLst>
        <pc:spChg chg="add del">
          <ac:chgData name="Eduard Eugenio Duarte Sepulveda" userId="d6757e78-5d77-4033-bc1e-7634d9cd1525" providerId="ADAL" clId="{A90A929C-CB73-4C9E-A963-2989ED4F3370}" dt="2023-06-07T22:31:43.577" v="153" actId="478"/>
          <ac:spMkLst>
            <pc:docMk/>
            <pc:sldMk cId="1538805589" sldId="977"/>
            <ac:spMk id="3" creationId="{66550AB5-9E97-487A-2AAE-2634A408D83A}"/>
          </ac:spMkLst>
        </pc:spChg>
        <pc:picChg chg="add mod">
          <ac:chgData name="Eduard Eugenio Duarte Sepulveda" userId="d6757e78-5d77-4033-bc1e-7634d9cd1525" providerId="ADAL" clId="{A90A929C-CB73-4C9E-A963-2989ED4F3370}" dt="2023-06-07T22:33:04.954" v="157" actId="1076"/>
          <ac:picMkLst>
            <pc:docMk/>
            <pc:sldMk cId="1538805589" sldId="977"/>
            <ac:picMk id="8196" creationId="{8EE643F5-68C1-3E14-147C-5D2A0D8A5A98}"/>
          </ac:picMkLst>
        </pc:picChg>
      </pc:sldChg>
      <pc:sldChg chg="addSp delSp modSp add mod ord">
        <pc:chgData name="Eduard Eugenio Duarte Sepulveda" userId="d6757e78-5d77-4033-bc1e-7634d9cd1525" providerId="ADAL" clId="{A90A929C-CB73-4C9E-A963-2989ED4F3370}" dt="2023-06-07T22:40:17.531" v="184"/>
        <pc:sldMkLst>
          <pc:docMk/>
          <pc:sldMk cId="3245026639" sldId="978"/>
        </pc:sldMkLst>
        <pc:picChg chg="add del">
          <ac:chgData name="Eduard Eugenio Duarte Sepulveda" userId="d6757e78-5d77-4033-bc1e-7634d9cd1525" providerId="ADAL" clId="{A90A929C-CB73-4C9E-A963-2989ED4F3370}" dt="2023-06-07T22:39:52.529" v="175" actId="478"/>
          <ac:picMkLst>
            <pc:docMk/>
            <pc:sldMk cId="3245026639" sldId="978"/>
            <ac:picMk id="4" creationId="{768E5AAE-BD86-C3B8-4714-309ACFF22E37}"/>
          </ac:picMkLst>
        </pc:picChg>
        <pc:picChg chg="add mod">
          <ac:chgData name="Eduard Eugenio Duarte Sepulveda" userId="d6757e78-5d77-4033-bc1e-7634d9cd1525" providerId="ADAL" clId="{A90A929C-CB73-4C9E-A963-2989ED4F3370}" dt="2023-06-07T22:40:06.766" v="180" actId="14100"/>
          <ac:picMkLst>
            <pc:docMk/>
            <pc:sldMk cId="3245026639" sldId="978"/>
            <ac:picMk id="6" creationId="{81E9C11C-03FF-1CC9-0370-D19CDDDD4198}"/>
          </ac:picMkLst>
        </pc:picChg>
      </pc:sldChg>
      <pc:sldChg chg="add del">
        <pc:chgData name="Eduard Eugenio Duarte Sepulveda" userId="d6757e78-5d77-4033-bc1e-7634d9cd1525" providerId="ADAL" clId="{A90A929C-CB73-4C9E-A963-2989ED4F3370}" dt="2023-06-07T22:51:15.735" v="253" actId="47"/>
        <pc:sldMkLst>
          <pc:docMk/>
          <pc:sldMk cId="3523054835" sldId="979"/>
        </pc:sldMkLst>
      </pc:sldChg>
      <pc:sldChg chg="add del">
        <pc:chgData name="Eduard Eugenio Duarte Sepulveda" userId="d6757e78-5d77-4033-bc1e-7634d9cd1525" providerId="ADAL" clId="{A90A929C-CB73-4C9E-A963-2989ED4F3370}" dt="2023-06-07T22:51:11.166" v="252" actId="47"/>
        <pc:sldMkLst>
          <pc:docMk/>
          <pc:sldMk cId="4259590621" sldId="980"/>
        </pc:sldMkLst>
      </pc:sldChg>
      <pc:sldChg chg="addSp modSp add">
        <pc:chgData name="Eduard Eugenio Duarte Sepulveda" userId="d6757e78-5d77-4033-bc1e-7634d9cd1525" providerId="ADAL" clId="{A90A929C-CB73-4C9E-A963-2989ED4F3370}" dt="2023-06-07T22:46:12.341" v="208" actId="1076"/>
        <pc:sldMkLst>
          <pc:docMk/>
          <pc:sldMk cId="2909538772" sldId="981"/>
        </pc:sldMkLst>
        <pc:grpChg chg="add mod">
          <ac:chgData name="Eduard Eugenio Duarte Sepulveda" userId="d6757e78-5d77-4033-bc1e-7634d9cd1525" providerId="ADAL" clId="{A90A929C-CB73-4C9E-A963-2989ED4F3370}" dt="2023-06-07T22:46:12.341" v="208" actId="1076"/>
          <ac:grpSpMkLst>
            <pc:docMk/>
            <pc:sldMk cId="2909538772" sldId="981"/>
            <ac:grpSpMk id="4" creationId="{8D098EFD-52E0-BDE3-91C3-3E588428ACB6}"/>
          </ac:grpSpMkLst>
        </pc:grpChg>
        <pc:picChg chg="add mod">
          <ac:chgData name="Eduard Eugenio Duarte Sepulveda" userId="d6757e78-5d77-4033-bc1e-7634d9cd1525" providerId="ADAL" clId="{A90A929C-CB73-4C9E-A963-2989ED4F3370}" dt="2023-06-07T22:46:12.341" v="208" actId="1076"/>
          <ac:picMkLst>
            <pc:docMk/>
            <pc:sldMk cId="2909538772" sldId="981"/>
            <ac:picMk id="3" creationId="{F221037D-8967-F74C-6852-15A6C4771C08}"/>
          </ac:picMkLst>
        </pc:picChg>
        <pc:picChg chg="add mod">
          <ac:chgData name="Eduard Eugenio Duarte Sepulveda" userId="d6757e78-5d77-4033-bc1e-7634d9cd1525" providerId="ADAL" clId="{A90A929C-CB73-4C9E-A963-2989ED4F3370}" dt="2023-06-07T22:46:12.341" v="208" actId="1076"/>
          <ac:picMkLst>
            <pc:docMk/>
            <pc:sldMk cId="2909538772" sldId="981"/>
            <ac:picMk id="12290" creationId="{DC3CA722-C623-372A-A7D8-F10FA86C3FB1}"/>
          </ac:picMkLst>
        </pc:picChg>
      </pc:sldChg>
      <pc:sldChg chg="new del">
        <pc:chgData name="Eduard Eugenio Duarte Sepulveda" userId="d6757e78-5d77-4033-bc1e-7634d9cd1525" providerId="ADAL" clId="{A90A929C-CB73-4C9E-A963-2989ED4F3370}" dt="2023-06-07T22:47:45.440" v="210" actId="680"/>
        <pc:sldMkLst>
          <pc:docMk/>
          <pc:sldMk cId="595231395" sldId="982"/>
        </pc:sldMkLst>
      </pc:sldChg>
      <pc:sldChg chg="addSp delSp modSp add">
        <pc:chgData name="Eduard Eugenio Duarte Sepulveda" userId="d6757e78-5d77-4033-bc1e-7634d9cd1525" providerId="ADAL" clId="{A90A929C-CB73-4C9E-A963-2989ED4F3370}" dt="2023-06-07T22:48:35.323" v="251" actId="1076"/>
        <pc:sldMkLst>
          <pc:docMk/>
          <pc:sldMk cId="1793948329" sldId="982"/>
        </pc:sldMkLst>
        <pc:picChg chg="del">
          <ac:chgData name="Eduard Eugenio Duarte Sepulveda" userId="d6757e78-5d77-4033-bc1e-7634d9cd1525" providerId="ADAL" clId="{A90A929C-CB73-4C9E-A963-2989ED4F3370}" dt="2023-06-07T22:48:21.399" v="247" actId="478"/>
          <ac:picMkLst>
            <pc:docMk/>
            <pc:sldMk cId="1793948329" sldId="982"/>
            <ac:picMk id="2050" creationId="{0B5F81F9-1DE8-916A-E9D7-D8E272C7EC23}"/>
          </ac:picMkLst>
        </pc:picChg>
        <pc:picChg chg="add mod">
          <ac:chgData name="Eduard Eugenio Duarte Sepulveda" userId="d6757e78-5d77-4033-bc1e-7634d9cd1525" providerId="ADAL" clId="{A90A929C-CB73-4C9E-A963-2989ED4F3370}" dt="2023-06-07T22:48:35.323" v="251" actId="1076"/>
          <ac:picMkLst>
            <pc:docMk/>
            <pc:sldMk cId="1793948329" sldId="982"/>
            <ac:picMk id="13314" creationId="{4C8E0B8A-DE94-B8F3-CF64-773C558A56AF}"/>
          </ac:picMkLst>
        </pc:picChg>
      </pc:sldChg>
      <pc:sldChg chg="add del">
        <pc:chgData name="Eduard Eugenio Duarte Sepulveda" userId="d6757e78-5d77-4033-bc1e-7634d9cd1525" providerId="ADAL" clId="{A90A929C-CB73-4C9E-A963-2989ED4F3370}" dt="2023-06-07T22:47:52.997" v="212" actId="47"/>
        <pc:sldMkLst>
          <pc:docMk/>
          <pc:sldMk cId="2117391077" sldId="982"/>
        </pc:sldMkLst>
      </pc:sldChg>
      <pc:sldChg chg="addSp modSp new mod">
        <pc:chgData name="Eduard Eugenio Duarte Sepulveda" userId="d6757e78-5d77-4033-bc1e-7634d9cd1525" providerId="ADAL" clId="{A90A929C-CB73-4C9E-A963-2989ED4F3370}" dt="2023-06-07T23:10:36.497" v="318" actId="732"/>
        <pc:sldMkLst>
          <pc:docMk/>
          <pc:sldMk cId="1057402187" sldId="983"/>
        </pc:sldMkLst>
        <pc:spChg chg="mod">
          <ac:chgData name="Eduard Eugenio Duarte Sepulveda" userId="d6757e78-5d77-4033-bc1e-7634d9cd1525" providerId="ADAL" clId="{A90A929C-CB73-4C9E-A963-2989ED4F3370}" dt="2023-06-07T23:09:35.673" v="311" actId="20577"/>
          <ac:spMkLst>
            <pc:docMk/>
            <pc:sldMk cId="1057402187" sldId="983"/>
            <ac:spMk id="3" creationId="{D7765D82-6590-1F70-C611-C0D25C6C7470}"/>
          </ac:spMkLst>
        </pc:spChg>
        <pc:spChg chg="add mod">
          <ac:chgData name="Eduard Eugenio Duarte Sepulveda" userId="d6757e78-5d77-4033-bc1e-7634d9cd1525" providerId="ADAL" clId="{A90A929C-CB73-4C9E-A963-2989ED4F3370}" dt="2023-06-07T23:09:44.693" v="313" actId="1076"/>
          <ac:spMkLst>
            <pc:docMk/>
            <pc:sldMk cId="1057402187" sldId="983"/>
            <ac:spMk id="5" creationId="{4EB5B900-3ED7-D89C-A238-BE4549D516F0}"/>
          </ac:spMkLst>
        </pc:spChg>
        <pc:picChg chg="add mod">
          <ac:chgData name="Eduard Eugenio Duarte Sepulveda" userId="d6757e78-5d77-4033-bc1e-7634d9cd1525" providerId="ADAL" clId="{A90A929C-CB73-4C9E-A963-2989ED4F3370}" dt="2023-06-07T23:10:36.497" v="318" actId="732"/>
          <ac:picMkLst>
            <pc:docMk/>
            <pc:sldMk cId="1057402187" sldId="983"/>
            <ac:picMk id="14338" creationId="{5E1EBE8F-50F9-7B93-4A95-5D54CC82F915}"/>
          </ac:picMkLst>
        </pc:picChg>
      </pc:sldChg>
      <pc:sldMasterChg chg="del delSldLayout">
        <pc:chgData name="Eduard Eugenio Duarte Sepulveda" userId="d6757e78-5d77-4033-bc1e-7634d9cd1525" providerId="ADAL" clId="{A90A929C-CB73-4C9E-A963-2989ED4F3370}" dt="2023-06-07T22:07:55.700" v="3" actId="47"/>
        <pc:sldMasterMkLst>
          <pc:docMk/>
          <pc:sldMasterMk cId="3061622423" sldId="2147483877"/>
        </pc:sldMasterMkLst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1578087818" sldId="2147483878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3255842375" sldId="2147483879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2526166810" sldId="2147483880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1814617008" sldId="2147483881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204008733" sldId="2147483882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317760480" sldId="2147483883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2366008407" sldId="2147483884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3001457317" sldId="2147483885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2576114781" sldId="2147483886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2008060901" sldId="2147483887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331141976" sldId="2147483888"/>
          </pc:sldLayoutMkLst>
        </pc:sldLayoutChg>
        <pc:sldLayoutChg chg="del">
          <pc:chgData name="Eduard Eugenio Duarte Sepulveda" userId="d6757e78-5d77-4033-bc1e-7634d9cd1525" providerId="ADAL" clId="{A90A929C-CB73-4C9E-A963-2989ED4F3370}" dt="2023-06-07T22:07:55.700" v="3" actId="47"/>
          <pc:sldLayoutMkLst>
            <pc:docMk/>
            <pc:sldMasterMk cId="3061622423" sldId="2147483877"/>
            <pc:sldLayoutMk cId="2851724063" sldId="2147483889"/>
          </pc:sldLayoutMkLst>
        </pc:sldLayoutChg>
      </pc:sldMasterChg>
    </pc:docChg>
  </pc:docChgLst>
  <pc:docChgLst>
    <pc:chgData name="Loto admin studio" userId="a8e4de7fefc2f42b" providerId="LiveId" clId="{32C8424F-0765-4F16-9237-ECC585E04C88}"/>
    <pc:docChg chg="undo redo custSel addSld delSld modSld sldOrd">
      <pc:chgData name="Loto admin studio" userId="a8e4de7fefc2f42b" providerId="LiveId" clId="{32C8424F-0765-4F16-9237-ECC585E04C88}" dt="2023-06-15T00:05:59.754" v="766" actId="1037"/>
      <pc:docMkLst>
        <pc:docMk/>
      </pc:docMkLst>
      <pc:sldChg chg="modSp add mod">
        <pc:chgData name="Loto admin studio" userId="a8e4de7fefc2f42b" providerId="LiveId" clId="{32C8424F-0765-4F16-9237-ECC585E04C88}" dt="2023-06-14T22:45:29.687" v="241" actId="1076"/>
        <pc:sldMkLst>
          <pc:docMk/>
          <pc:sldMk cId="3276258768" sldId="257"/>
        </pc:sldMkLst>
        <pc:spChg chg="mod">
          <ac:chgData name="Loto admin studio" userId="a8e4de7fefc2f42b" providerId="LiveId" clId="{32C8424F-0765-4F16-9237-ECC585E04C88}" dt="2023-06-14T22:45:22.961" v="240" actId="1076"/>
          <ac:spMkLst>
            <pc:docMk/>
            <pc:sldMk cId="3276258768" sldId="257"/>
            <ac:spMk id="42" creationId="{00000000-0000-0000-0000-000000000000}"/>
          </ac:spMkLst>
        </pc:spChg>
        <pc:spChg chg="mod">
          <ac:chgData name="Loto admin studio" userId="a8e4de7fefc2f42b" providerId="LiveId" clId="{32C8424F-0765-4F16-9237-ECC585E04C88}" dt="2023-06-14T22:45:29.687" v="241" actId="1076"/>
          <ac:spMkLst>
            <pc:docMk/>
            <pc:sldMk cId="3276258768" sldId="257"/>
            <ac:spMk id="45" creationId="{00000000-0000-0000-0000-000000000000}"/>
          </ac:spMkLst>
        </pc:spChg>
      </pc:sldChg>
      <pc:sldChg chg="delSp add del mod">
        <pc:chgData name="Loto admin studio" userId="a8e4de7fefc2f42b" providerId="LiveId" clId="{32C8424F-0765-4F16-9237-ECC585E04C88}" dt="2023-06-14T22:56:11.781" v="448" actId="47"/>
        <pc:sldMkLst>
          <pc:docMk/>
          <pc:sldMk cId="1844295280" sldId="259"/>
        </pc:sldMkLst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2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5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6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8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9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10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11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12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13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6:09.095" v="447" actId="21"/>
          <ac:spMkLst>
            <pc:docMk/>
            <pc:sldMk cId="1844295280" sldId="259"/>
            <ac:spMk id="14" creationId="{00000000-0000-0000-0000-000000000000}"/>
          </ac:spMkLst>
        </pc:spChg>
        <pc:picChg chg="del">
          <ac:chgData name="Loto admin studio" userId="a8e4de7fefc2f42b" providerId="LiveId" clId="{32C8424F-0765-4F16-9237-ECC585E04C88}" dt="2023-06-14T22:56:09.095" v="447" actId="21"/>
          <ac:picMkLst>
            <pc:docMk/>
            <pc:sldMk cId="1844295280" sldId="259"/>
            <ac:picMk id="3" creationId="{00000000-0000-0000-0000-000000000000}"/>
          </ac:picMkLst>
        </pc:picChg>
      </pc:sldChg>
      <pc:sldChg chg="delSp add del mod">
        <pc:chgData name="Loto admin studio" userId="a8e4de7fefc2f42b" providerId="LiveId" clId="{32C8424F-0765-4F16-9237-ECC585E04C88}" dt="2023-06-14T22:55:52.070" v="445" actId="47"/>
        <pc:sldMkLst>
          <pc:docMk/>
          <pc:sldMk cId="2533068285" sldId="260"/>
        </pc:sldMkLst>
        <pc:picChg chg="del">
          <ac:chgData name="Loto admin studio" userId="a8e4de7fefc2f42b" providerId="LiveId" clId="{32C8424F-0765-4F16-9237-ECC585E04C88}" dt="2023-06-14T22:54:56.460" v="385" actId="21"/>
          <ac:picMkLst>
            <pc:docMk/>
            <pc:sldMk cId="2533068285" sldId="260"/>
            <ac:picMk id="2" creationId="{00000000-0000-0000-0000-000000000000}"/>
          </ac:picMkLst>
        </pc:picChg>
        <pc:picChg chg="del">
          <ac:chgData name="Loto admin studio" userId="a8e4de7fefc2f42b" providerId="LiveId" clId="{32C8424F-0765-4F16-9237-ECC585E04C88}" dt="2023-06-14T22:54:56.460" v="385" actId="21"/>
          <ac:picMkLst>
            <pc:docMk/>
            <pc:sldMk cId="2533068285" sldId="260"/>
            <ac:picMk id="5" creationId="{67639701-DA61-09D7-4FB3-0A395C6904C5}"/>
          </ac:picMkLst>
        </pc:picChg>
      </pc:sldChg>
      <pc:sldChg chg="add del">
        <pc:chgData name="Loto admin studio" userId="a8e4de7fefc2f42b" providerId="LiveId" clId="{32C8424F-0765-4F16-9237-ECC585E04C88}" dt="2023-06-14T22:58:05.233" v="509" actId="47"/>
        <pc:sldMkLst>
          <pc:docMk/>
          <pc:sldMk cId="907491888" sldId="261"/>
        </pc:sldMkLst>
      </pc:sldChg>
      <pc:sldChg chg="add del">
        <pc:chgData name="Loto admin studio" userId="a8e4de7fefc2f42b" providerId="LiveId" clId="{32C8424F-0765-4F16-9237-ECC585E04C88}" dt="2023-06-14T22:52:25.327" v="377" actId="47"/>
        <pc:sldMkLst>
          <pc:docMk/>
          <pc:sldMk cId="1967327375" sldId="262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2097627443" sldId="264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2221654197" sldId="265"/>
        </pc:sldMkLst>
      </pc:sldChg>
      <pc:sldChg chg="add del">
        <pc:chgData name="Loto admin studio" userId="a8e4de7fefc2f42b" providerId="LiveId" clId="{32C8424F-0765-4F16-9237-ECC585E04C88}" dt="2023-06-14T22:55:57.322" v="446" actId="47"/>
        <pc:sldMkLst>
          <pc:docMk/>
          <pc:sldMk cId="1624900175" sldId="266"/>
        </pc:sldMkLst>
      </pc:sldChg>
      <pc:sldChg chg="delSp add del mod">
        <pc:chgData name="Loto admin studio" userId="a8e4de7fefc2f42b" providerId="LiveId" clId="{32C8424F-0765-4F16-9237-ECC585E04C88}" dt="2023-06-14T22:52:20.099" v="376" actId="47"/>
        <pc:sldMkLst>
          <pc:docMk/>
          <pc:sldMk cId="3952730011" sldId="267"/>
        </pc:sldMkLst>
        <pc:spChg chg="del">
          <ac:chgData name="Loto admin studio" userId="a8e4de7fefc2f42b" providerId="LiveId" clId="{32C8424F-0765-4F16-9237-ECC585E04C88}" dt="2023-06-14T22:51:37.805" v="287" actId="21"/>
          <ac:spMkLst>
            <pc:docMk/>
            <pc:sldMk cId="3952730011" sldId="267"/>
            <ac:spMk id="2" creationId="{66442B19-1D0D-4CA0-D1D2-386D41BF5F5B}"/>
          </ac:spMkLst>
        </pc:spChg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3624095630" sldId="269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195838524" sldId="270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3286216645" sldId="271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624452858" sldId="273"/>
        </pc:sldMkLst>
      </pc:sldChg>
      <pc:sldChg chg="delSp add del mod">
        <pc:chgData name="Loto admin studio" userId="a8e4de7fefc2f42b" providerId="LiveId" clId="{32C8424F-0765-4F16-9237-ECC585E04C88}" dt="2023-06-14T23:06:20.534" v="601" actId="47"/>
        <pc:sldMkLst>
          <pc:docMk/>
          <pc:sldMk cId="2421552218" sldId="274"/>
        </pc:sldMkLst>
        <pc:spChg chg="del">
          <ac:chgData name="Loto admin studio" userId="a8e4de7fefc2f42b" providerId="LiveId" clId="{32C8424F-0765-4F16-9237-ECC585E04C88}" dt="2023-06-14T23:02:29.248" v="560" actId="21"/>
          <ac:spMkLst>
            <pc:docMk/>
            <pc:sldMk cId="2421552218" sldId="274"/>
            <ac:spMk id="18" creationId="{00000000-0000-0000-0000-000000000000}"/>
          </ac:spMkLst>
        </pc:spChg>
        <pc:picChg chg="del">
          <ac:chgData name="Loto admin studio" userId="a8e4de7fefc2f42b" providerId="LiveId" clId="{32C8424F-0765-4F16-9237-ECC585E04C88}" dt="2023-06-14T23:02:29.248" v="560" actId="21"/>
          <ac:picMkLst>
            <pc:docMk/>
            <pc:sldMk cId="2421552218" sldId="274"/>
            <ac:picMk id="6" creationId="{00000000-0000-0000-0000-000000000000}"/>
          </ac:picMkLst>
        </pc:picChg>
      </pc:sldChg>
      <pc:sldChg chg="delSp add del mod">
        <pc:chgData name="Loto admin studio" userId="a8e4de7fefc2f42b" providerId="LiveId" clId="{32C8424F-0765-4F16-9237-ECC585E04C88}" dt="2023-06-14T23:03:33.731" v="592" actId="47"/>
        <pc:sldMkLst>
          <pc:docMk/>
          <pc:sldMk cId="3058941434" sldId="275"/>
        </pc:sldMkLst>
        <pc:spChg chg="del">
          <ac:chgData name="Loto admin studio" userId="a8e4de7fefc2f42b" providerId="LiveId" clId="{32C8424F-0765-4F16-9237-ECC585E04C88}" dt="2023-06-14T23:03:10.270" v="587" actId="21"/>
          <ac:spMkLst>
            <pc:docMk/>
            <pc:sldMk cId="3058941434" sldId="275"/>
            <ac:spMk id="18" creationId="{00000000-0000-0000-0000-000000000000}"/>
          </ac:spMkLst>
        </pc:spChg>
        <pc:picChg chg="del">
          <ac:chgData name="Loto admin studio" userId="a8e4de7fefc2f42b" providerId="LiveId" clId="{32C8424F-0765-4F16-9237-ECC585E04C88}" dt="2023-06-14T23:03:10.270" v="587" actId="21"/>
          <ac:picMkLst>
            <pc:docMk/>
            <pc:sldMk cId="3058941434" sldId="275"/>
            <ac:picMk id="19" creationId="{00000000-0000-0000-0000-000000000000}"/>
          </ac:picMkLst>
        </pc:picChg>
      </pc:sldChg>
      <pc:sldChg chg="delSp add del mod">
        <pc:chgData name="Loto admin studio" userId="a8e4de7fefc2f42b" providerId="LiveId" clId="{32C8424F-0765-4F16-9237-ECC585E04C88}" dt="2023-06-14T23:04:17.305" v="598" actId="47"/>
        <pc:sldMkLst>
          <pc:docMk/>
          <pc:sldMk cId="1811036578" sldId="276"/>
        </pc:sldMkLst>
        <pc:picChg chg="del">
          <ac:chgData name="Loto admin studio" userId="a8e4de7fefc2f42b" providerId="LiveId" clId="{32C8424F-0765-4F16-9237-ECC585E04C88}" dt="2023-06-14T23:04:09.293" v="596" actId="21"/>
          <ac:picMkLst>
            <pc:docMk/>
            <pc:sldMk cId="1811036578" sldId="276"/>
            <ac:picMk id="2" creationId="{00000000-0000-0000-0000-000000000000}"/>
          </ac:picMkLst>
        </pc:picChg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2783763924" sldId="284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2915091674" sldId="292"/>
        </pc:sldMkLst>
      </pc:sldChg>
      <pc:sldChg chg="add del">
        <pc:chgData name="Loto admin studio" userId="a8e4de7fefc2f42b" providerId="LiveId" clId="{32C8424F-0765-4F16-9237-ECC585E04C88}" dt="2023-06-14T22:54:10.215" v="379" actId="47"/>
        <pc:sldMkLst>
          <pc:docMk/>
          <pc:sldMk cId="709104428" sldId="293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3790654110" sldId="296"/>
        </pc:sldMkLst>
      </pc:sldChg>
      <pc:sldChg chg="add del">
        <pc:chgData name="Loto admin studio" userId="a8e4de7fefc2f42b" providerId="LiveId" clId="{32C8424F-0765-4F16-9237-ECC585E04C88}" dt="2023-06-14T22:53:00.253" v="378" actId="47"/>
        <pc:sldMkLst>
          <pc:docMk/>
          <pc:sldMk cId="984293587" sldId="297"/>
        </pc:sldMkLst>
      </pc:sldChg>
      <pc:sldChg chg="addSp delSp modSp add del">
        <pc:chgData name="Loto admin studio" userId="a8e4de7fefc2f42b" providerId="LiveId" clId="{32C8424F-0765-4F16-9237-ECC585E04C88}" dt="2023-06-14T22:59:21.538" v="540" actId="47"/>
        <pc:sldMkLst>
          <pc:docMk/>
          <pc:sldMk cId="3491272655" sldId="309"/>
        </pc:sldMkLst>
        <pc:spChg chg="add mod">
          <ac:chgData name="Loto admin studio" userId="a8e4de7fefc2f42b" providerId="LiveId" clId="{32C8424F-0765-4F16-9237-ECC585E04C88}" dt="2023-06-14T22:59:17.169" v="539" actId="21"/>
          <ac:spMkLst>
            <pc:docMk/>
            <pc:sldMk cId="3491272655" sldId="309"/>
            <ac:spMk id="2" creationId="{D907BB95-9012-A136-0D89-03AA48B1C13D}"/>
          </ac:spMkLst>
        </pc:spChg>
        <pc:spChg chg="del">
          <ac:chgData name="Loto admin studio" userId="a8e4de7fefc2f42b" providerId="LiveId" clId="{32C8424F-0765-4F16-9237-ECC585E04C88}" dt="2023-06-14T22:59:17.169" v="539" actId="21"/>
          <ac:spMkLst>
            <pc:docMk/>
            <pc:sldMk cId="3491272655" sldId="309"/>
            <ac:spMk id="3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9:17.169" v="539" actId="21"/>
          <ac:spMkLst>
            <pc:docMk/>
            <pc:sldMk cId="3491272655" sldId="309"/>
            <ac:spMk id="7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59:17.169" v="539" actId="21"/>
          <ac:spMkLst>
            <pc:docMk/>
            <pc:sldMk cId="3491272655" sldId="309"/>
            <ac:spMk id="12" creationId="{00000000-0000-0000-0000-000000000000}"/>
          </ac:spMkLst>
        </pc:spChg>
        <pc:picChg chg="del">
          <ac:chgData name="Loto admin studio" userId="a8e4de7fefc2f42b" providerId="LiveId" clId="{32C8424F-0765-4F16-9237-ECC585E04C88}" dt="2023-06-14T22:59:17.169" v="539" actId="21"/>
          <ac:picMkLst>
            <pc:docMk/>
            <pc:sldMk cId="3491272655" sldId="309"/>
            <ac:picMk id="1027" creationId="{00000000-0000-0000-0000-000000000000}"/>
          </ac:picMkLst>
        </pc:picChg>
        <pc:cxnChg chg="del">
          <ac:chgData name="Loto admin studio" userId="a8e4de7fefc2f42b" providerId="LiveId" clId="{32C8424F-0765-4F16-9237-ECC585E04C88}" dt="2023-06-14T22:59:17.169" v="539" actId="21"/>
          <ac:cxnSpMkLst>
            <pc:docMk/>
            <pc:sldMk cId="3491272655" sldId="309"/>
            <ac:cxnSpMk id="5" creationId="{00000000-0000-0000-0000-000000000000}"/>
          </ac:cxnSpMkLst>
        </pc:cxnChg>
        <pc:cxnChg chg="del">
          <ac:chgData name="Loto admin studio" userId="a8e4de7fefc2f42b" providerId="LiveId" clId="{32C8424F-0765-4F16-9237-ECC585E04C88}" dt="2023-06-14T22:59:17.169" v="539" actId="21"/>
          <ac:cxnSpMkLst>
            <pc:docMk/>
            <pc:sldMk cId="3491272655" sldId="309"/>
            <ac:cxnSpMk id="8" creationId="{00000000-0000-0000-0000-000000000000}"/>
          </ac:cxnSpMkLst>
        </pc:cxnChg>
      </pc:sldChg>
      <pc:sldChg chg="add del">
        <pc:chgData name="Loto admin studio" userId="a8e4de7fefc2f42b" providerId="LiveId" clId="{32C8424F-0765-4F16-9237-ECC585E04C88}" dt="2023-06-14T22:51:15.187" v="281" actId="47"/>
        <pc:sldMkLst>
          <pc:docMk/>
          <pc:sldMk cId="1393628470" sldId="310"/>
        </pc:sldMkLst>
      </pc:sldChg>
      <pc:sldChg chg="add del">
        <pc:chgData name="Loto admin studio" userId="a8e4de7fefc2f42b" providerId="LiveId" clId="{32C8424F-0765-4F16-9237-ECC585E04C88}" dt="2023-06-14T22:49:38.527" v="267" actId="47"/>
        <pc:sldMkLst>
          <pc:docMk/>
          <pc:sldMk cId="3180627589" sldId="312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4182683580" sldId="313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169585431" sldId="314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4147552738" sldId="315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2772768766" sldId="316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2442476369" sldId="317"/>
        </pc:sldMkLst>
      </pc:sldChg>
      <pc:sldChg chg="add">
        <pc:chgData name="Loto admin studio" userId="a8e4de7fefc2f42b" providerId="LiveId" clId="{32C8424F-0765-4F16-9237-ECC585E04C88}" dt="2023-06-14T22:45:07.378" v="238"/>
        <pc:sldMkLst>
          <pc:docMk/>
          <pc:sldMk cId="2429803690" sldId="318"/>
        </pc:sldMkLst>
      </pc:sldChg>
      <pc:sldChg chg="add ord">
        <pc:chgData name="Loto admin studio" userId="a8e4de7fefc2f42b" providerId="LiveId" clId="{32C8424F-0765-4F16-9237-ECC585E04C88}" dt="2023-06-14T22:58:13.840" v="512"/>
        <pc:sldMkLst>
          <pc:docMk/>
          <pc:sldMk cId="1973769999" sldId="476"/>
        </pc:sldMkLst>
      </pc:sldChg>
      <pc:sldChg chg="del">
        <pc:chgData name="Loto admin studio" userId="a8e4de7fefc2f42b" providerId="LiveId" clId="{32C8424F-0765-4F16-9237-ECC585E04C88}" dt="2023-06-14T22:57:30.185" v="508" actId="2696"/>
        <pc:sldMkLst>
          <pc:docMk/>
          <pc:sldMk cId="2036976259" sldId="476"/>
        </pc:sldMkLst>
      </pc:sldChg>
      <pc:sldChg chg="modSp del mod">
        <pc:chgData name="Loto admin studio" userId="a8e4de7fefc2f42b" providerId="LiveId" clId="{32C8424F-0765-4F16-9237-ECC585E04C88}" dt="2023-06-14T22:50:59.543" v="280" actId="47"/>
        <pc:sldMkLst>
          <pc:docMk/>
          <pc:sldMk cId="2384151974" sldId="728"/>
        </pc:sldMkLst>
        <pc:spChg chg="mod">
          <ac:chgData name="Loto admin studio" userId="a8e4de7fefc2f42b" providerId="LiveId" clId="{32C8424F-0765-4F16-9237-ECC585E04C88}" dt="2023-06-14T22:06:26.116" v="41" actId="20577"/>
          <ac:spMkLst>
            <pc:docMk/>
            <pc:sldMk cId="2384151974" sldId="728"/>
            <ac:spMk id="2" creationId="{00000000-0000-0000-0000-000000000000}"/>
          </ac:spMkLst>
        </pc:spChg>
        <pc:spChg chg="mod">
          <ac:chgData name="Loto admin studio" userId="a8e4de7fefc2f42b" providerId="LiveId" clId="{32C8424F-0765-4F16-9237-ECC585E04C88}" dt="2023-06-14T22:06:49.403" v="76" actId="20577"/>
          <ac:spMkLst>
            <pc:docMk/>
            <pc:sldMk cId="2384151974" sldId="728"/>
            <ac:spMk id="11" creationId="{D6C74055-1009-0525-7414-AEB2A3B6DDC7}"/>
          </ac:spMkLst>
        </pc:spChg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532268468" sldId="734"/>
        </pc:sldMkLst>
      </pc:sldChg>
      <pc:sldChg chg="addSp delSp modSp mod">
        <pc:chgData name="Loto admin studio" userId="a8e4de7fefc2f42b" providerId="LiveId" clId="{32C8424F-0765-4F16-9237-ECC585E04C88}" dt="2023-06-14T22:08:53.026" v="111" actId="20577"/>
        <pc:sldMkLst>
          <pc:docMk/>
          <pc:sldMk cId="2004194361" sldId="953"/>
        </pc:sldMkLst>
        <pc:spChg chg="mod">
          <ac:chgData name="Loto admin studio" userId="a8e4de7fefc2f42b" providerId="LiveId" clId="{32C8424F-0765-4F16-9237-ECC585E04C88}" dt="2023-06-14T22:07:03.082" v="94" actId="20577"/>
          <ac:spMkLst>
            <pc:docMk/>
            <pc:sldMk cId="2004194361" sldId="953"/>
            <ac:spMk id="2" creationId="{00000000-0000-0000-0000-000000000000}"/>
          </ac:spMkLst>
        </pc:spChg>
        <pc:spChg chg="del">
          <ac:chgData name="Loto admin studio" userId="a8e4de7fefc2f42b" providerId="LiveId" clId="{32C8424F-0765-4F16-9237-ECC585E04C88}" dt="2023-06-14T22:07:16.933" v="98" actId="478"/>
          <ac:spMkLst>
            <pc:docMk/>
            <pc:sldMk cId="2004194361" sldId="953"/>
            <ac:spMk id="10" creationId="{6034F087-B0FD-C5D4-140F-64EEA3AC2FEC}"/>
          </ac:spMkLst>
        </pc:spChg>
        <pc:spChg chg="mod">
          <ac:chgData name="Loto admin studio" userId="a8e4de7fefc2f42b" providerId="LiveId" clId="{32C8424F-0765-4F16-9237-ECC585E04C88}" dt="2023-06-14T22:08:53.026" v="111" actId="20577"/>
          <ac:spMkLst>
            <pc:docMk/>
            <pc:sldMk cId="2004194361" sldId="953"/>
            <ac:spMk id="19" creationId="{00000000-0000-0000-0000-000000000000}"/>
          </ac:spMkLst>
        </pc:spChg>
        <pc:graphicFrameChg chg="del mod">
          <ac:chgData name="Loto admin studio" userId="a8e4de7fefc2f42b" providerId="LiveId" clId="{32C8424F-0765-4F16-9237-ECC585E04C88}" dt="2023-06-14T22:07:11.777" v="96" actId="478"/>
          <ac:graphicFrameMkLst>
            <pc:docMk/>
            <pc:sldMk cId="2004194361" sldId="953"/>
            <ac:graphicFrameMk id="25" creationId="{EF390CC7-1F68-F4F4-9FC3-A541C29B4E5D}"/>
          </ac:graphicFrameMkLst>
        </pc:graphicFrameChg>
        <pc:picChg chg="del">
          <ac:chgData name="Loto admin studio" userId="a8e4de7fefc2f42b" providerId="LiveId" clId="{32C8424F-0765-4F16-9237-ECC585E04C88}" dt="2023-06-14T22:07:14.740" v="97" actId="478"/>
          <ac:picMkLst>
            <pc:docMk/>
            <pc:sldMk cId="2004194361" sldId="953"/>
            <ac:picMk id="27" creationId="{EBAFFB3C-DCC8-93B5-3BD9-2F1EE0693097}"/>
          </ac:picMkLst>
        </pc:picChg>
        <pc:picChg chg="add mod">
          <ac:chgData name="Loto admin studio" userId="a8e4de7fefc2f42b" providerId="LiveId" clId="{32C8424F-0765-4F16-9237-ECC585E04C88}" dt="2023-06-14T22:08:43.950" v="101" actId="14100"/>
          <ac:picMkLst>
            <pc:docMk/>
            <pc:sldMk cId="2004194361" sldId="953"/>
            <ac:picMk id="1026" creationId="{44C7A613-4085-E6B7-F913-BDBF59AFB904}"/>
          </ac:picMkLst>
        </pc:picChg>
      </pc:sldChg>
      <pc:sldChg chg="add ord">
        <pc:chgData name="Loto admin studio" userId="a8e4de7fefc2f42b" providerId="LiveId" clId="{32C8424F-0765-4F16-9237-ECC585E04C88}" dt="2023-06-14T22:58:18.391" v="514"/>
        <pc:sldMkLst>
          <pc:docMk/>
          <pc:sldMk cId="688700283" sldId="955"/>
        </pc:sldMkLst>
      </pc:sldChg>
      <pc:sldChg chg="del">
        <pc:chgData name="Loto admin studio" userId="a8e4de7fefc2f42b" providerId="LiveId" clId="{32C8424F-0765-4F16-9237-ECC585E04C88}" dt="2023-06-14T22:57:30.185" v="508" actId="2696"/>
        <pc:sldMkLst>
          <pc:docMk/>
          <pc:sldMk cId="1650415521" sldId="955"/>
        </pc:sldMkLst>
      </pc:sldChg>
      <pc:sldChg chg="add ord">
        <pc:chgData name="Loto admin studio" userId="a8e4de7fefc2f42b" providerId="LiveId" clId="{32C8424F-0765-4F16-9237-ECC585E04C88}" dt="2023-06-14T23:00:50.666" v="552"/>
        <pc:sldMkLst>
          <pc:docMk/>
          <pc:sldMk cId="92995600" sldId="956"/>
        </pc:sldMkLst>
      </pc:sldChg>
      <pc:sldChg chg="del">
        <pc:chgData name="Loto admin studio" userId="a8e4de7fefc2f42b" providerId="LiveId" clId="{32C8424F-0765-4F16-9237-ECC585E04C88}" dt="2023-06-14T22:57:30.185" v="508" actId="2696"/>
        <pc:sldMkLst>
          <pc:docMk/>
          <pc:sldMk cId="3529010539" sldId="956"/>
        </pc:sldMkLst>
      </pc:sldChg>
      <pc:sldChg chg="del">
        <pc:chgData name="Loto admin studio" userId="a8e4de7fefc2f42b" providerId="LiveId" clId="{32C8424F-0765-4F16-9237-ECC585E04C88}" dt="2023-06-14T22:57:30.185" v="508" actId="2696"/>
        <pc:sldMkLst>
          <pc:docMk/>
          <pc:sldMk cId="95291220" sldId="957"/>
        </pc:sldMkLst>
      </pc:sldChg>
      <pc:sldChg chg="add ord">
        <pc:chgData name="Loto admin studio" userId="a8e4de7fefc2f42b" providerId="LiveId" clId="{32C8424F-0765-4F16-9237-ECC585E04C88}" dt="2023-06-14T22:58:13.840" v="512"/>
        <pc:sldMkLst>
          <pc:docMk/>
          <pc:sldMk cId="2112486467" sldId="957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950030066" sldId="962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108625636" sldId="964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613272520" sldId="965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500346747" sldId="966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52689550" sldId="967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367412458" sldId="968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051662502" sldId="969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3231254194" sldId="970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3033696917" sldId="972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3931734496" sldId="973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876213795" sldId="974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562724591" sldId="975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320529513" sldId="976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538805589" sldId="977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3245026639" sldId="978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909538772" sldId="981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793948329" sldId="982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586556213" sldId="984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013008304" sldId="986"/>
        </pc:sldMkLst>
      </pc:sldChg>
      <pc:sldChg chg="modSp del mod">
        <pc:chgData name="Loto admin studio" userId="a8e4de7fefc2f42b" providerId="LiveId" clId="{32C8424F-0765-4F16-9237-ECC585E04C88}" dt="2023-06-14T22:50:56.267" v="279" actId="47"/>
        <pc:sldMkLst>
          <pc:docMk/>
          <pc:sldMk cId="3161459210" sldId="987"/>
        </pc:sldMkLst>
        <pc:spChg chg="mod">
          <ac:chgData name="Loto admin studio" userId="a8e4de7fefc2f42b" providerId="LiveId" clId="{32C8424F-0765-4F16-9237-ECC585E04C88}" dt="2023-06-14T22:50:48.055" v="278" actId="1076"/>
          <ac:spMkLst>
            <pc:docMk/>
            <pc:sldMk cId="3161459210" sldId="987"/>
            <ac:spMk id="3" creationId="{D03ADAAE-9467-8A7C-B99F-980E6D35077E}"/>
          </ac:spMkLst>
        </pc:spChg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469327557" sldId="988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139712608" sldId="989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915440730" sldId="990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403380263" sldId="991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270979210" sldId="992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377286072" sldId="993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4033420734" sldId="994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2749590129" sldId="996"/>
        </pc:sldMkLst>
      </pc:sldChg>
      <pc:sldChg chg="del">
        <pc:chgData name="Loto admin studio" userId="a8e4de7fefc2f42b" providerId="LiveId" clId="{32C8424F-0765-4F16-9237-ECC585E04C88}" dt="2023-06-14T23:04:42.645" v="600" actId="47"/>
        <pc:sldMkLst>
          <pc:docMk/>
          <pc:sldMk cId="1137868771" sldId="997"/>
        </pc:sldMkLst>
      </pc:sldChg>
      <pc:sldChg chg="modSp add mod ord">
        <pc:chgData name="Loto admin studio" userId="a8e4de7fefc2f42b" providerId="LiveId" clId="{32C8424F-0765-4F16-9237-ECC585E04C88}" dt="2023-06-15T00:05:59.754" v="766" actId="1037"/>
        <pc:sldMkLst>
          <pc:docMk/>
          <pc:sldMk cId="378279212" sldId="998"/>
        </pc:sldMkLst>
        <pc:spChg chg="mod">
          <ac:chgData name="Loto admin studio" userId="a8e4de7fefc2f42b" providerId="LiveId" clId="{32C8424F-0765-4F16-9237-ECC585E04C88}" dt="2023-06-15T00:05:59.754" v="766" actId="1037"/>
          <ac:spMkLst>
            <pc:docMk/>
            <pc:sldMk cId="378279212" sldId="998"/>
            <ac:spMk id="5" creationId="{E0BB0C4E-C311-D37C-F3E3-31BD3C947132}"/>
          </ac:spMkLst>
        </pc:spChg>
      </pc:sldChg>
      <pc:sldChg chg="addSp delSp modSp add del mod">
        <pc:chgData name="Loto admin studio" userId="a8e4de7fefc2f42b" providerId="LiveId" clId="{32C8424F-0765-4F16-9237-ECC585E04C88}" dt="2023-06-14T22:57:30.185" v="508" actId="2696"/>
        <pc:sldMkLst>
          <pc:docMk/>
          <pc:sldMk cId="1914811077" sldId="998"/>
        </pc:sldMkLst>
        <pc:spChg chg="add mod">
          <ac:chgData name="Loto admin studio" userId="a8e4de7fefc2f42b" providerId="LiveId" clId="{32C8424F-0765-4F16-9237-ECC585E04C88}" dt="2023-06-14T22:15:28.883" v="150" actId="1076"/>
          <ac:spMkLst>
            <pc:docMk/>
            <pc:sldMk cId="1914811077" sldId="998"/>
            <ac:spMk id="5" creationId="{E0BB0C4E-C311-D37C-F3E3-31BD3C947132}"/>
          </ac:spMkLst>
        </pc:spChg>
        <pc:picChg chg="del">
          <ac:chgData name="Loto admin studio" userId="a8e4de7fefc2f42b" providerId="LiveId" clId="{32C8424F-0765-4F16-9237-ECC585E04C88}" dt="2023-06-14T22:10:44.815" v="142" actId="478"/>
          <ac:picMkLst>
            <pc:docMk/>
            <pc:sldMk cId="1914811077" sldId="998"/>
            <ac:picMk id="3" creationId="{6B03A8BB-7F7C-9F44-4B27-F2282AC72B85}"/>
          </ac:picMkLst>
        </pc:picChg>
        <pc:picChg chg="add mod">
          <ac:chgData name="Loto admin studio" userId="a8e4de7fefc2f42b" providerId="LiveId" clId="{32C8424F-0765-4F16-9237-ECC585E04C88}" dt="2023-06-14T22:15:31.095" v="151" actId="1076"/>
          <ac:picMkLst>
            <pc:docMk/>
            <pc:sldMk cId="1914811077" sldId="998"/>
            <ac:picMk id="7" creationId="{D761AFE2-3B2D-812D-A21D-2D4CFBC77D10}"/>
          </ac:picMkLst>
        </pc:picChg>
      </pc:sldChg>
      <pc:sldChg chg="modSp add del mod">
        <pc:chgData name="Loto admin studio" userId="a8e4de7fefc2f42b" providerId="LiveId" clId="{32C8424F-0765-4F16-9237-ECC585E04C88}" dt="2023-06-14T22:10:38.634" v="140" actId="47"/>
        <pc:sldMkLst>
          <pc:docMk/>
          <pc:sldMk cId="3249275974" sldId="998"/>
        </pc:sldMkLst>
        <pc:spChg chg="mod">
          <ac:chgData name="Loto admin studio" userId="a8e4de7fefc2f42b" providerId="LiveId" clId="{32C8424F-0765-4F16-9237-ECC585E04C88}" dt="2023-06-14T22:10:31.885" v="139" actId="20577"/>
          <ac:spMkLst>
            <pc:docMk/>
            <pc:sldMk cId="3249275974" sldId="998"/>
            <ac:spMk id="2" creationId="{00000000-0000-0000-0000-000000000000}"/>
          </ac:spMkLst>
        </pc:spChg>
      </pc:sldChg>
      <pc:sldChg chg="addSp delSp modSp add del mod">
        <pc:chgData name="Loto admin studio" userId="a8e4de7fefc2f42b" providerId="LiveId" clId="{32C8424F-0765-4F16-9237-ECC585E04C88}" dt="2023-06-14T22:57:30.185" v="508" actId="2696"/>
        <pc:sldMkLst>
          <pc:docMk/>
          <pc:sldMk cId="1935588939" sldId="999"/>
        </pc:sldMkLst>
        <pc:spChg chg="del">
          <ac:chgData name="Loto admin studio" userId="a8e4de7fefc2f42b" providerId="LiveId" clId="{32C8424F-0765-4F16-9237-ECC585E04C88}" dt="2023-06-14T22:20:59.489" v="213" actId="478"/>
          <ac:spMkLst>
            <pc:docMk/>
            <pc:sldMk cId="1935588939" sldId="999"/>
            <ac:spMk id="2" creationId="{7ECE9715-C4EA-4F7D-A75F-3B21507C8E2C}"/>
          </ac:spMkLst>
        </pc:spChg>
        <pc:spChg chg="del">
          <ac:chgData name="Loto admin studio" userId="a8e4de7fefc2f42b" providerId="LiveId" clId="{32C8424F-0765-4F16-9237-ECC585E04C88}" dt="2023-06-14T22:19:31.093" v="156" actId="478"/>
          <ac:spMkLst>
            <pc:docMk/>
            <pc:sldMk cId="1935588939" sldId="999"/>
            <ac:spMk id="5" creationId="{1397F979-8FA1-0496-3AA8-FFBC5D1B1987}"/>
          </ac:spMkLst>
        </pc:spChg>
        <pc:spChg chg="del">
          <ac:chgData name="Loto admin studio" userId="a8e4de7fefc2f42b" providerId="LiveId" clId="{32C8424F-0765-4F16-9237-ECC585E04C88}" dt="2023-06-14T22:19:35.740" v="157" actId="478"/>
          <ac:spMkLst>
            <pc:docMk/>
            <pc:sldMk cId="1935588939" sldId="999"/>
            <ac:spMk id="6" creationId="{3AEBCDDD-77B7-4D35-A102-6B6A28679048}"/>
          </ac:spMkLst>
        </pc:spChg>
        <pc:spChg chg="del">
          <ac:chgData name="Loto admin studio" userId="a8e4de7fefc2f42b" providerId="LiveId" clId="{32C8424F-0765-4F16-9237-ECC585E04C88}" dt="2023-06-14T22:20:39.169" v="208" actId="478"/>
          <ac:spMkLst>
            <pc:docMk/>
            <pc:sldMk cId="1935588939" sldId="999"/>
            <ac:spMk id="9" creationId="{7D52E26D-99BE-4DD0-AE25-EDD9BC644EB2}"/>
          </ac:spMkLst>
        </pc:spChg>
        <pc:spChg chg="del">
          <ac:chgData name="Loto admin studio" userId="a8e4de7fefc2f42b" providerId="LiveId" clId="{32C8424F-0765-4F16-9237-ECC585E04C88}" dt="2023-06-14T22:19:39.738" v="158" actId="478"/>
          <ac:spMkLst>
            <pc:docMk/>
            <pc:sldMk cId="1935588939" sldId="999"/>
            <ac:spMk id="10" creationId="{FCF942C8-A562-4979-B9D1-E4EEC94CAEF2}"/>
          </ac:spMkLst>
        </pc:spChg>
        <pc:spChg chg="del">
          <ac:chgData name="Loto admin studio" userId="a8e4de7fefc2f42b" providerId="LiveId" clId="{32C8424F-0765-4F16-9237-ECC585E04C88}" dt="2023-06-14T22:20:43.353" v="209" actId="478"/>
          <ac:spMkLst>
            <pc:docMk/>
            <pc:sldMk cId="1935588939" sldId="999"/>
            <ac:spMk id="11" creationId="{F89EBEC0-BDA6-41EC-805A-6D9093D50E32}"/>
          </ac:spMkLst>
        </pc:spChg>
        <pc:spChg chg="del">
          <ac:chgData name="Loto admin studio" userId="a8e4de7fefc2f42b" providerId="LiveId" clId="{32C8424F-0765-4F16-9237-ECC585E04C88}" dt="2023-06-14T22:20:48.950" v="211" actId="478"/>
          <ac:spMkLst>
            <pc:docMk/>
            <pc:sldMk cId="1935588939" sldId="999"/>
            <ac:spMk id="12" creationId="{B0071F03-21B3-4118-BE57-6255A7B1C274}"/>
          </ac:spMkLst>
        </pc:spChg>
        <pc:spChg chg="del">
          <ac:chgData name="Loto admin studio" userId="a8e4de7fefc2f42b" providerId="LiveId" clId="{32C8424F-0765-4F16-9237-ECC585E04C88}" dt="2023-06-14T22:21:03.814" v="214" actId="478"/>
          <ac:spMkLst>
            <pc:docMk/>
            <pc:sldMk cId="1935588939" sldId="999"/>
            <ac:spMk id="13" creationId="{2828A8A9-A430-45DF-BD1A-6CA6DC843140}"/>
          </ac:spMkLst>
        </pc:spChg>
        <pc:spChg chg="del">
          <ac:chgData name="Loto admin studio" userId="a8e4de7fefc2f42b" providerId="LiveId" clId="{32C8424F-0765-4F16-9237-ECC585E04C88}" dt="2023-06-14T22:20:52.331" v="212" actId="478"/>
          <ac:spMkLst>
            <pc:docMk/>
            <pc:sldMk cId="1935588939" sldId="999"/>
            <ac:spMk id="14" creationId="{FE17D467-B507-436D-BB26-203824C004F1}"/>
          </ac:spMkLst>
        </pc:spChg>
        <pc:spChg chg="del">
          <ac:chgData name="Loto admin studio" userId="a8e4de7fefc2f42b" providerId="LiveId" clId="{32C8424F-0765-4F16-9237-ECC585E04C88}" dt="2023-06-14T22:21:22.498" v="217" actId="478"/>
          <ac:spMkLst>
            <pc:docMk/>
            <pc:sldMk cId="1935588939" sldId="999"/>
            <ac:spMk id="15" creationId="{8E9D3135-DBF5-422A-8096-04D548FBE87E}"/>
          </ac:spMkLst>
        </pc:spChg>
        <pc:spChg chg="del">
          <ac:chgData name="Loto admin studio" userId="a8e4de7fefc2f42b" providerId="LiveId" clId="{32C8424F-0765-4F16-9237-ECC585E04C88}" dt="2023-06-14T22:19:28.467" v="155" actId="478"/>
          <ac:spMkLst>
            <pc:docMk/>
            <pc:sldMk cId="1935588939" sldId="999"/>
            <ac:spMk id="16" creationId="{2CECF6DC-7C42-0378-8E20-A80C59205CE2}"/>
          </ac:spMkLst>
        </pc:spChg>
        <pc:spChg chg="del">
          <ac:chgData name="Loto admin studio" userId="a8e4de7fefc2f42b" providerId="LiveId" clId="{32C8424F-0765-4F16-9237-ECC585E04C88}" dt="2023-06-14T22:20:46.172" v="210" actId="478"/>
          <ac:spMkLst>
            <pc:docMk/>
            <pc:sldMk cId="1935588939" sldId="999"/>
            <ac:spMk id="17" creationId="{D931BEC8-C1D1-A285-874C-68C02BF111EC}"/>
          </ac:spMkLst>
        </pc:spChg>
        <pc:spChg chg="del mod">
          <ac:chgData name="Loto admin studio" userId="a8e4de7fefc2f42b" providerId="LiveId" clId="{32C8424F-0765-4F16-9237-ECC585E04C88}" dt="2023-06-14T22:19:24.402" v="154" actId="478"/>
          <ac:spMkLst>
            <pc:docMk/>
            <pc:sldMk cId="1935588939" sldId="999"/>
            <ac:spMk id="18" creationId="{9F9E4A7F-0504-C5FF-25FC-32CC9D118EF3}"/>
          </ac:spMkLst>
        </pc:spChg>
        <pc:picChg chg="add del">
          <ac:chgData name="Loto admin studio" userId="a8e4de7fefc2f42b" providerId="LiveId" clId="{32C8424F-0765-4F16-9237-ECC585E04C88}" dt="2023-06-14T22:21:16.756" v="216" actId="478"/>
          <ac:picMkLst>
            <pc:docMk/>
            <pc:sldMk cId="1935588939" sldId="999"/>
            <ac:picMk id="8" creationId="{00000000-0000-0000-0000-000000000000}"/>
          </ac:picMkLst>
        </pc:picChg>
      </pc:sldChg>
      <pc:sldChg chg="add ord">
        <pc:chgData name="Loto admin studio" userId="a8e4de7fefc2f42b" providerId="LiveId" clId="{32C8424F-0765-4F16-9237-ECC585E04C88}" dt="2023-06-14T22:58:13.840" v="512"/>
        <pc:sldMkLst>
          <pc:docMk/>
          <pc:sldMk cId="1946024702" sldId="999"/>
        </pc:sldMkLst>
      </pc:sldChg>
      <pc:sldChg chg="new del">
        <pc:chgData name="Loto admin studio" userId="a8e4de7fefc2f42b" providerId="LiveId" clId="{32C8424F-0765-4F16-9237-ECC585E04C88}" dt="2023-06-14T22:19:53.137" v="160" actId="47"/>
        <pc:sldMkLst>
          <pc:docMk/>
          <pc:sldMk cId="847082736" sldId="1000"/>
        </pc:sldMkLst>
      </pc:sldChg>
      <pc:sldChg chg="add ord">
        <pc:chgData name="Loto admin studio" userId="a8e4de7fefc2f42b" providerId="LiveId" clId="{32C8424F-0765-4F16-9237-ECC585E04C88}" dt="2023-06-14T22:58:13.840" v="512"/>
        <pc:sldMkLst>
          <pc:docMk/>
          <pc:sldMk cId="1695009659" sldId="1000"/>
        </pc:sldMkLst>
      </pc:sldChg>
      <pc:sldChg chg="addSp modSp new del mod ord">
        <pc:chgData name="Loto admin studio" userId="a8e4de7fefc2f42b" providerId="LiveId" clId="{32C8424F-0765-4F16-9237-ECC585E04C88}" dt="2023-06-14T22:57:30.185" v="508" actId="2696"/>
        <pc:sldMkLst>
          <pc:docMk/>
          <pc:sldMk cId="2671373813" sldId="1000"/>
        </pc:sldMkLst>
        <pc:spChg chg="mod">
          <ac:chgData name="Loto admin studio" userId="a8e4de7fefc2f42b" providerId="LiveId" clId="{32C8424F-0765-4F16-9237-ECC585E04C88}" dt="2023-06-14T22:20:32.364" v="207" actId="20577"/>
          <ac:spMkLst>
            <pc:docMk/>
            <pc:sldMk cId="2671373813" sldId="1000"/>
            <ac:spMk id="2" creationId="{DE4027D0-B462-7511-6D37-5926CE30EE01}"/>
          </ac:spMkLst>
        </pc:spChg>
        <pc:spChg chg="mod">
          <ac:chgData name="Loto admin studio" userId="a8e4de7fefc2f42b" providerId="LiveId" clId="{32C8424F-0765-4F16-9237-ECC585E04C88}" dt="2023-06-14T22:20:24.599" v="194" actId="20577"/>
          <ac:spMkLst>
            <pc:docMk/>
            <pc:sldMk cId="2671373813" sldId="1000"/>
            <ac:spMk id="3" creationId="{8CD8E4AE-54BC-B54F-1B2C-3494B32322D8}"/>
          </ac:spMkLst>
        </pc:spChg>
        <pc:spChg chg="add mod">
          <ac:chgData name="Loto admin studio" userId="a8e4de7fefc2f42b" providerId="LiveId" clId="{32C8424F-0765-4F16-9237-ECC585E04C88}" dt="2023-06-14T22:23:25.443" v="223" actId="20577"/>
          <ac:spMkLst>
            <pc:docMk/>
            <pc:sldMk cId="2671373813" sldId="1000"/>
            <ac:spMk id="6" creationId="{81FAEE21-B7D9-113A-4CBB-780C9F3A7389}"/>
          </ac:spMkLst>
        </pc:spChg>
        <pc:picChg chg="add mod">
          <ac:chgData name="Loto admin studio" userId="a8e4de7fefc2f42b" providerId="LiveId" clId="{32C8424F-0765-4F16-9237-ECC585E04C88}" dt="2023-06-14T22:22:55.012" v="218" actId="1076"/>
          <ac:picMkLst>
            <pc:docMk/>
            <pc:sldMk cId="2671373813" sldId="1000"/>
            <ac:picMk id="5" creationId="{9CA663EB-978E-4321-2550-B7B4566AA928}"/>
          </ac:picMkLst>
        </pc:picChg>
      </pc:sldChg>
      <pc:sldChg chg="addSp delSp modSp new add del mod ord">
        <pc:chgData name="Loto admin studio" userId="a8e4de7fefc2f42b" providerId="LiveId" clId="{32C8424F-0765-4F16-9237-ECC585E04C88}" dt="2023-06-14T22:52:05.516" v="375" actId="20577"/>
        <pc:sldMkLst>
          <pc:docMk/>
          <pc:sldMk cId="2271187727" sldId="1001"/>
        </pc:sldMkLst>
        <pc:spChg chg="del">
          <ac:chgData name="Loto admin studio" userId="a8e4de7fefc2f42b" providerId="LiveId" clId="{32C8424F-0765-4F16-9237-ECC585E04C88}" dt="2023-06-14T22:32:30.978" v="229"/>
          <ac:spMkLst>
            <pc:docMk/>
            <pc:sldMk cId="2271187727" sldId="1001"/>
            <ac:spMk id="2" creationId="{3ECAD5CA-A340-69FB-6EE5-10DE130074DF}"/>
          </ac:spMkLst>
        </pc:spChg>
        <pc:spChg chg="mod">
          <ac:chgData name="Loto admin studio" userId="a8e4de7fefc2f42b" providerId="LiveId" clId="{32C8424F-0765-4F16-9237-ECC585E04C88}" dt="2023-06-14T22:51:56.612" v="340" actId="20577"/>
          <ac:spMkLst>
            <pc:docMk/>
            <pc:sldMk cId="2271187727" sldId="1001"/>
            <ac:spMk id="3" creationId="{EA680F1D-B1CE-2E70-E189-ABF0F4DE5D55}"/>
          </ac:spMkLst>
        </pc:spChg>
        <pc:spChg chg="add del">
          <ac:chgData name="Loto admin studio" userId="a8e4de7fefc2f42b" providerId="LiveId" clId="{32C8424F-0765-4F16-9237-ECC585E04C88}" dt="2023-06-14T22:31:32.053" v="226" actId="22"/>
          <ac:spMkLst>
            <pc:docMk/>
            <pc:sldMk cId="2271187727" sldId="1001"/>
            <ac:spMk id="5" creationId="{73C6CF70-2DE9-D798-3528-F828DBE69CC3}"/>
          </ac:spMkLst>
        </pc:spChg>
        <pc:spChg chg="add del">
          <ac:chgData name="Loto admin studio" userId="a8e4de7fefc2f42b" providerId="LiveId" clId="{32C8424F-0765-4F16-9237-ECC585E04C88}" dt="2023-06-14T22:32:25.771" v="228"/>
          <ac:spMkLst>
            <pc:docMk/>
            <pc:sldMk cId="2271187727" sldId="1001"/>
            <ac:spMk id="6" creationId="{8E1093EA-C296-7348-9DBE-AC9AEDCAB753}"/>
          </ac:spMkLst>
        </pc:spChg>
        <pc:spChg chg="add mod">
          <ac:chgData name="Loto admin studio" userId="a8e4de7fefc2f42b" providerId="LiveId" clId="{32C8424F-0765-4F16-9237-ECC585E04C88}" dt="2023-06-14T22:52:05.516" v="375" actId="20577"/>
          <ac:spMkLst>
            <pc:docMk/>
            <pc:sldMk cId="2271187727" sldId="1001"/>
            <ac:spMk id="7" creationId="{3235E2A0-67D4-080B-8A1B-2F08F9062AB9}"/>
          </ac:spMkLst>
        </pc:spChg>
        <pc:spChg chg="add del">
          <ac:chgData name="Loto admin studio" userId="a8e4de7fefc2f42b" providerId="LiveId" clId="{32C8424F-0765-4F16-9237-ECC585E04C88}" dt="2023-06-14T22:32:34.904" v="231"/>
          <ac:spMkLst>
            <pc:docMk/>
            <pc:sldMk cId="2271187727" sldId="1001"/>
            <ac:spMk id="8" creationId="{26255A26-AD61-19D3-DD96-6651628D16E1}"/>
          </ac:spMkLst>
        </pc:spChg>
        <pc:spChg chg="add mod">
          <ac:chgData name="Loto admin studio" userId="a8e4de7fefc2f42b" providerId="LiveId" clId="{32C8424F-0765-4F16-9237-ECC585E04C88}" dt="2023-06-14T22:51:40.374" v="288"/>
          <ac:spMkLst>
            <pc:docMk/>
            <pc:sldMk cId="2271187727" sldId="1001"/>
            <ac:spMk id="13" creationId="{29A36055-0D4E-2178-2948-BBAF2402FDBC}"/>
          </ac:spMkLst>
        </pc:spChg>
        <pc:picChg chg="add del mod">
          <ac:chgData name="Loto admin studio" userId="a8e4de7fefc2f42b" providerId="LiveId" clId="{32C8424F-0765-4F16-9237-ECC585E04C88}" dt="2023-06-14T22:33:40.610" v="234" actId="478"/>
          <ac:picMkLst>
            <pc:docMk/>
            <pc:sldMk cId="2271187727" sldId="1001"/>
            <ac:picMk id="10" creationId="{8312802A-7A2B-50A4-10B1-13350E4C23DC}"/>
          </ac:picMkLst>
        </pc:picChg>
        <pc:picChg chg="add del mod">
          <ac:chgData name="Loto admin studio" userId="a8e4de7fefc2f42b" providerId="LiveId" clId="{32C8424F-0765-4F16-9237-ECC585E04C88}" dt="2023-06-14T22:34:37.566" v="237" actId="478"/>
          <ac:picMkLst>
            <pc:docMk/>
            <pc:sldMk cId="2271187727" sldId="1001"/>
            <ac:picMk id="12" creationId="{DCDE7C2D-2E27-1A4A-381D-A772930D9FE9}"/>
          </ac:picMkLst>
        </pc:picChg>
      </pc:sldChg>
      <pc:sldChg chg="addSp delSp modSp new mod modAnim">
        <pc:chgData name="Loto admin studio" userId="a8e4de7fefc2f42b" providerId="LiveId" clId="{32C8424F-0765-4F16-9237-ECC585E04C88}" dt="2023-06-14T22:47:25.583" v="246" actId="478"/>
        <pc:sldMkLst>
          <pc:docMk/>
          <pc:sldMk cId="2846524532" sldId="1002"/>
        </pc:sldMkLst>
        <pc:spChg chg="del">
          <ac:chgData name="Loto admin studio" userId="a8e4de7fefc2f42b" providerId="LiveId" clId="{32C8424F-0765-4F16-9237-ECC585E04C88}" dt="2023-06-14T22:47:22.787" v="245" actId="478"/>
          <ac:spMkLst>
            <pc:docMk/>
            <pc:sldMk cId="2846524532" sldId="1002"/>
            <ac:spMk id="2" creationId="{ACE5158E-EF38-1A13-9BE2-8AB55550955A}"/>
          </ac:spMkLst>
        </pc:spChg>
        <pc:spChg chg="del">
          <ac:chgData name="Loto admin studio" userId="a8e4de7fefc2f42b" providerId="LiveId" clId="{32C8424F-0765-4F16-9237-ECC585E04C88}" dt="2023-06-14T22:47:25.583" v="246" actId="478"/>
          <ac:spMkLst>
            <pc:docMk/>
            <pc:sldMk cId="2846524532" sldId="1002"/>
            <ac:spMk id="3" creationId="{A2E25EE1-EE62-BFB6-59CD-FA89FBEFF3CD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4" creationId="{CFB94A0A-4CEB-321F-C688-DB03BBC6FB70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5" creationId="{799CA153-2F5F-BE86-1F48-4ECAA9B186EC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6" creationId="{F71E62B8-69C9-839D-C9A1-B9EEF0E62B32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7" creationId="{E3057FCE-E0F8-ECFE-1A37-CD209C281AA9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8" creationId="{9B18124C-715A-5800-B518-D7A46BF0DC8D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9" creationId="{137B2E7D-8760-E24F-544F-EC4F38A3D4B3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0" creationId="{8829FBC7-D5AC-C126-261C-3F48D60D00D0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1" creationId="{1C17A98C-7781-230A-ADAA-E8320452AE9E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2" creationId="{A5845EB8-63F3-C65C-7536-0C2D0CCD32F0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3" creationId="{5318EFB1-B4D5-7FD9-1EC6-661ADE9B17FE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4" creationId="{0487A2E8-1C9A-1DBF-05DE-056F26902139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5" creationId="{A802C6DB-CB76-7774-ACB1-7908BA1DBFF6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7" creationId="{9AFC7292-8E23-EAC2-9480-BBC61B0045E0}"/>
          </ac:spMkLst>
        </pc:spChg>
        <pc:spChg chg="add mod">
          <ac:chgData name="Loto admin studio" userId="a8e4de7fefc2f42b" providerId="LiveId" clId="{32C8424F-0765-4F16-9237-ECC585E04C88}" dt="2023-06-14T22:47:20.299" v="244" actId="1076"/>
          <ac:spMkLst>
            <pc:docMk/>
            <pc:sldMk cId="2846524532" sldId="1002"/>
            <ac:spMk id="18" creationId="{6F7F8649-90D6-D55F-3B0C-3CD7FAD5D4DD}"/>
          </ac:spMkLst>
        </pc:spChg>
        <pc:cxnChg chg="add mod">
          <ac:chgData name="Loto admin studio" userId="a8e4de7fefc2f42b" providerId="LiveId" clId="{32C8424F-0765-4F16-9237-ECC585E04C88}" dt="2023-06-14T22:47:20.299" v="244" actId="1076"/>
          <ac:cxnSpMkLst>
            <pc:docMk/>
            <pc:sldMk cId="2846524532" sldId="1002"/>
            <ac:cxnSpMk id="16" creationId="{EA077091-2C1E-5ACF-DB3E-F3A38EBA5132}"/>
          </ac:cxnSpMkLst>
        </pc:cxnChg>
        <pc:cxnChg chg="add mod">
          <ac:chgData name="Loto admin studio" userId="a8e4de7fefc2f42b" providerId="LiveId" clId="{32C8424F-0765-4F16-9237-ECC585E04C88}" dt="2023-06-14T22:47:20.299" v="244" actId="1076"/>
          <ac:cxnSpMkLst>
            <pc:docMk/>
            <pc:sldMk cId="2846524532" sldId="1002"/>
            <ac:cxnSpMk id="19" creationId="{796291F9-4831-80F4-C7B7-6C51505E1258}"/>
          </ac:cxnSpMkLst>
        </pc:cxnChg>
      </pc:sldChg>
      <pc:sldChg chg="new del">
        <pc:chgData name="Loto admin studio" userId="a8e4de7fefc2f42b" providerId="LiveId" clId="{32C8424F-0765-4F16-9237-ECC585E04C88}" dt="2023-06-14T22:49:42.114" v="268" actId="47"/>
        <pc:sldMkLst>
          <pc:docMk/>
          <pc:sldMk cId="3289351649" sldId="1003"/>
        </pc:sldMkLst>
      </pc:sldChg>
      <pc:sldChg chg="addSp modSp new mod ord">
        <pc:chgData name="Loto admin studio" userId="a8e4de7fefc2f42b" providerId="LiveId" clId="{32C8424F-0765-4F16-9237-ECC585E04C88}" dt="2023-06-14T22:49:32.129" v="266" actId="20577"/>
        <pc:sldMkLst>
          <pc:docMk/>
          <pc:sldMk cId="631899353" sldId="1004"/>
        </pc:sldMkLst>
        <pc:spChg chg="mod">
          <ac:chgData name="Loto admin studio" userId="a8e4de7fefc2f42b" providerId="LiveId" clId="{32C8424F-0765-4F16-9237-ECC585E04C88}" dt="2023-06-14T22:49:32.129" v="266" actId="20577"/>
          <ac:spMkLst>
            <pc:docMk/>
            <pc:sldMk cId="631899353" sldId="1004"/>
            <ac:spMk id="2" creationId="{C6D3296A-B6FF-B9CB-8487-3BED6B814CC6}"/>
          </ac:spMkLst>
        </pc:spChg>
        <pc:spChg chg="mod">
          <ac:chgData name="Loto admin studio" userId="a8e4de7fefc2f42b" providerId="LiveId" clId="{32C8424F-0765-4F16-9237-ECC585E04C88}" dt="2023-06-14T22:49:24.024" v="264" actId="20577"/>
          <ac:spMkLst>
            <pc:docMk/>
            <pc:sldMk cId="631899353" sldId="1004"/>
            <ac:spMk id="3" creationId="{C12DB92C-B12E-21F3-2198-0474492C2A74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8" creationId="{464D636A-7450-3C24-1054-9C37640845F3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0" creationId="{A51A34F8-363E-6175-71D4-D0006714753C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2" creationId="{80963383-5DAF-7B1E-CC6A-DD9C1F95FF52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3" creationId="{19813ECC-3A25-F38E-E602-1B5301A23C19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4" creationId="{081E20EC-77A3-D935-38DF-5F74E3676516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5" creationId="{AC792C10-FB18-11F6-66E5-56450F03116D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6" creationId="{48A56A02-BEC5-6214-EEFF-D81E2897820B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7" creationId="{A2FCE27D-B721-3E17-BF99-AE96CD9884A6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8" creationId="{BE493E13-3F6B-1A71-D38F-68E08D1A3FDE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19" creationId="{9D408A16-8433-5C69-5B7D-6653220521CB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0" creationId="{15AF81F8-2DFF-C1AA-0ABD-2F0E8A87F82A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1" creationId="{70A23995-5040-AEC8-6480-77AC16EC30D6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2" creationId="{6B61EDC6-CD77-4CD6-F942-C29A0BE3C825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3" creationId="{AEA0432B-A611-2F71-FFA6-F91DDBEDD4FC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4" creationId="{6D55A976-4F64-3A61-907A-7C0C93BD8E36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5" creationId="{CE302553-C19B-BBD9-6D3D-2EB92DFE1D36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6" creationId="{BB948CBB-2C34-1410-33AB-E0F045172724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7" creationId="{21534D7C-40EA-4370-6516-E896BFD51622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28" creationId="{88077C45-0FBF-29C4-5A62-86F4217AF0DE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0" creationId="{D1EE0191-E11C-1FF0-CB00-2AC7210B86CE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1" creationId="{7F30FDAB-75B5-ECAF-9A02-93F8E6051A6A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2" creationId="{9A2E7C2A-FF29-9F3B-3391-2394B6DF5F32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3" creationId="{88B4185C-E977-80CE-54B4-9FA9B2E8E2F1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4" creationId="{C0349040-E501-FBCD-0E4F-3876B1D6F5BB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5" creationId="{82930CDC-43DF-0172-DF30-099A6BE8EA37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6" creationId="{42CD0D50-A8F0-67E6-67F6-5EDAFF18B983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7" creationId="{FFE1BD4B-F176-2926-3CFA-049128AD5D7D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8" creationId="{69BB5FB1-7AFA-D8C2-4B70-935A1F76EE1B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39" creationId="{664DED2A-36A5-6874-D7D5-CE8AE54DB9E5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40" creationId="{23E0223E-6C89-8E7D-9D8E-8566A88FCD9E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41" creationId="{D38F9EBE-88EA-CDFF-4457-CA6CF85912B6}"/>
          </ac:spMkLst>
        </pc:spChg>
        <pc:spChg chg="add mod">
          <ac:chgData name="Loto admin studio" userId="a8e4de7fefc2f42b" providerId="LiveId" clId="{32C8424F-0765-4F16-9237-ECC585E04C88}" dt="2023-06-14T22:48:36.322" v="252" actId="1076"/>
          <ac:spMkLst>
            <pc:docMk/>
            <pc:sldMk cId="631899353" sldId="1004"/>
            <ac:spMk id="42" creationId="{E6BFD1D0-C712-06A5-A2B5-523F487C0DB0}"/>
          </ac:spMkLst>
        </pc:spChg>
        <pc:picChg chg="add mod">
          <ac:chgData name="Loto admin studio" userId="a8e4de7fefc2f42b" providerId="LiveId" clId="{32C8424F-0765-4F16-9237-ECC585E04C88}" dt="2023-06-14T22:48:36.322" v="252" actId="1076"/>
          <ac:picMkLst>
            <pc:docMk/>
            <pc:sldMk cId="631899353" sldId="1004"/>
            <ac:picMk id="4" creationId="{D6A33539-61D3-8E4A-B32B-822BCD7B04AC}"/>
          </ac:picMkLst>
        </pc:picChg>
        <pc:picChg chg="add mod">
          <ac:chgData name="Loto admin studio" userId="a8e4de7fefc2f42b" providerId="LiveId" clId="{32C8424F-0765-4F16-9237-ECC585E04C88}" dt="2023-06-14T22:48:36.322" v="252" actId="1076"/>
          <ac:picMkLst>
            <pc:docMk/>
            <pc:sldMk cId="631899353" sldId="1004"/>
            <ac:picMk id="5" creationId="{E227471E-DCE4-3E93-8BB4-840DBE9AE8A2}"/>
          </ac:picMkLst>
        </pc:picChg>
        <pc:picChg chg="add mod">
          <ac:chgData name="Loto admin studio" userId="a8e4de7fefc2f42b" providerId="LiveId" clId="{32C8424F-0765-4F16-9237-ECC585E04C88}" dt="2023-06-14T22:48:36.322" v="252" actId="1076"/>
          <ac:picMkLst>
            <pc:docMk/>
            <pc:sldMk cId="631899353" sldId="1004"/>
            <ac:picMk id="6" creationId="{01401BC9-5F37-C668-4724-89B34A8FB067}"/>
          </ac:picMkLst>
        </pc:picChg>
        <pc:picChg chg="add mod">
          <ac:chgData name="Loto admin studio" userId="a8e4de7fefc2f42b" providerId="LiveId" clId="{32C8424F-0765-4F16-9237-ECC585E04C88}" dt="2023-06-14T22:48:36.322" v="252" actId="1076"/>
          <ac:picMkLst>
            <pc:docMk/>
            <pc:sldMk cId="631899353" sldId="1004"/>
            <ac:picMk id="7" creationId="{3B9EB4C1-7612-7374-EDB0-7B9B899DAF0C}"/>
          </ac:picMkLst>
        </pc:picChg>
        <pc:cxnChg chg="add mod">
          <ac:chgData name="Loto admin studio" userId="a8e4de7fefc2f42b" providerId="LiveId" clId="{32C8424F-0765-4F16-9237-ECC585E04C88}" dt="2023-06-14T22:48:36.322" v="252" actId="1076"/>
          <ac:cxnSpMkLst>
            <pc:docMk/>
            <pc:sldMk cId="631899353" sldId="1004"/>
            <ac:cxnSpMk id="9" creationId="{9BB65167-A8AF-1B94-A36A-75217A630696}"/>
          </ac:cxnSpMkLst>
        </pc:cxnChg>
        <pc:cxnChg chg="add mod">
          <ac:chgData name="Loto admin studio" userId="a8e4de7fefc2f42b" providerId="LiveId" clId="{32C8424F-0765-4F16-9237-ECC585E04C88}" dt="2023-06-14T22:48:36.322" v="252" actId="1076"/>
          <ac:cxnSpMkLst>
            <pc:docMk/>
            <pc:sldMk cId="631899353" sldId="1004"/>
            <ac:cxnSpMk id="11" creationId="{3C15A084-5BBC-8719-97FC-F59C5C93ADFC}"/>
          </ac:cxnSpMkLst>
        </pc:cxnChg>
        <pc:cxnChg chg="add mod">
          <ac:chgData name="Loto admin studio" userId="a8e4de7fefc2f42b" providerId="LiveId" clId="{32C8424F-0765-4F16-9237-ECC585E04C88}" dt="2023-06-14T22:48:36.322" v="252" actId="1076"/>
          <ac:cxnSpMkLst>
            <pc:docMk/>
            <pc:sldMk cId="631899353" sldId="1004"/>
            <ac:cxnSpMk id="29" creationId="{2529047C-1F0F-77B1-2242-B3B2AB4FCF29}"/>
          </ac:cxnSpMkLst>
        </pc:cxnChg>
      </pc:sldChg>
      <pc:sldChg chg="addSp delSp modSp new mod ord">
        <pc:chgData name="Loto admin studio" userId="a8e4de7fefc2f42b" providerId="LiveId" clId="{32C8424F-0765-4F16-9237-ECC585E04C88}" dt="2023-06-14T23:00:32.231" v="550" actId="1076"/>
        <pc:sldMkLst>
          <pc:docMk/>
          <pc:sldMk cId="354619614" sldId="1005"/>
        </pc:sldMkLst>
        <pc:spChg chg="mod">
          <ac:chgData name="Loto admin studio" userId="a8e4de7fefc2f42b" providerId="LiveId" clId="{32C8424F-0765-4F16-9237-ECC585E04C88}" dt="2023-06-14T23:00:13.224" v="548" actId="1076"/>
          <ac:spMkLst>
            <pc:docMk/>
            <pc:sldMk cId="354619614" sldId="1005"/>
            <ac:spMk id="2" creationId="{09A12E75-E3FC-6899-7B9E-B0487F4891B5}"/>
          </ac:spMkLst>
        </pc:spChg>
        <pc:spChg chg="del mod">
          <ac:chgData name="Loto admin studio" userId="a8e4de7fefc2f42b" providerId="LiveId" clId="{32C8424F-0765-4F16-9237-ECC585E04C88}" dt="2023-06-14T23:00:03.554" v="547" actId="478"/>
          <ac:spMkLst>
            <pc:docMk/>
            <pc:sldMk cId="354619614" sldId="1005"/>
            <ac:spMk id="3" creationId="{C57022D6-2F44-0D11-A2B1-824E9FD072A6}"/>
          </ac:spMkLst>
        </pc:spChg>
        <pc:spChg chg="add mod">
          <ac:chgData name="Loto admin studio" userId="a8e4de7fefc2f42b" providerId="LiveId" clId="{32C8424F-0765-4F16-9237-ECC585E04C88}" dt="2023-06-14T23:00:32.231" v="550" actId="1076"/>
          <ac:spMkLst>
            <pc:docMk/>
            <pc:sldMk cId="354619614" sldId="1005"/>
            <ac:spMk id="5" creationId="{CBD37349-CEAD-BAE1-0E60-384DE6A95CDF}"/>
          </ac:spMkLst>
        </pc:spChg>
        <pc:spChg chg="add mod">
          <ac:chgData name="Loto admin studio" userId="a8e4de7fefc2f42b" providerId="LiveId" clId="{32C8424F-0765-4F16-9237-ECC585E04C88}" dt="2023-06-14T23:00:32.231" v="550" actId="1076"/>
          <ac:spMkLst>
            <pc:docMk/>
            <pc:sldMk cId="354619614" sldId="1005"/>
            <ac:spMk id="6" creationId="{BF94F205-29B7-EA6B-E02D-47C3B9FC0EB2}"/>
          </ac:spMkLst>
        </pc:spChg>
        <pc:spChg chg="add mod">
          <ac:chgData name="Loto admin studio" userId="a8e4de7fefc2f42b" providerId="LiveId" clId="{32C8424F-0765-4F16-9237-ECC585E04C88}" dt="2023-06-14T23:00:32.231" v="550" actId="1076"/>
          <ac:spMkLst>
            <pc:docMk/>
            <pc:sldMk cId="354619614" sldId="1005"/>
            <ac:spMk id="9" creationId="{B4783D2A-CE10-A231-96FE-05A239A18E3E}"/>
          </ac:spMkLst>
        </pc:spChg>
        <pc:picChg chg="add mod">
          <ac:chgData name="Loto admin studio" userId="a8e4de7fefc2f42b" providerId="LiveId" clId="{32C8424F-0765-4F16-9237-ECC585E04C88}" dt="2023-06-14T23:00:19.468" v="549" actId="14100"/>
          <ac:picMkLst>
            <pc:docMk/>
            <pc:sldMk cId="354619614" sldId="1005"/>
            <ac:picMk id="4" creationId="{B39E39D0-2693-2775-E062-10730F92E5B0}"/>
          </ac:picMkLst>
        </pc:picChg>
        <pc:cxnChg chg="add mod">
          <ac:chgData name="Loto admin studio" userId="a8e4de7fefc2f42b" providerId="LiveId" clId="{32C8424F-0765-4F16-9237-ECC585E04C88}" dt="2023-06-14T23:00:32.231" v="550" actId="1076"/>
          <ac:cxnSpMkLst>
            <pc:docMk/>
            <pc:sldMk cId="354619614" sldId="1005"/>
            <ac:cxnSpMk id="7" creationId="{A6520EE4-F287-B3B5-3729-80E826A07A3D}"/>
          </ac:cxnSpMkLst>
        </pc:cxnChg>
        <pc:cxnChg chg="add mod">
          <ac:chgData name="Loto admin studio" userId="a8e4de7fefc2f42b" providerId="LiveId" clId="{32C8424F-0765-4F16-9237-ECC585E04C88}" dt="2023-06-14T23:00:32.231" v="550" actId="1076"/>
          <ac:cxnSpMkLst>
            <pc:docMk/>
            <pc:sldMk cId="354619614" sldId="1005"/>
            <ac:cxnSpMk id="8" creationId="{BFFE7BAE-ABFA-8F36-065E-64DEB8C026F2}"/>
          </ac:cxnSpMkLst>
        </pc:cxnChg>
      </pc:sldChg>
      <pc:sldChg chg="new add del">
        <pc:chgData name="Loto admin studio" userId="a8e4de7fefc2f42b" providerId="LiveId" clId="{32C8424F-0765-4F16-9237-ECC585E04C88}" dt="2023-06-14T22:50:46.553" v="276" actId="47"/>
        <pc:sldMkLst>
          <pc:docMk/>
          <pc:sldMk cId="4028848191" sldId="1005"/>
        </pc:sldMkLst>
      </pc:sldChg>
      <pc:sldChg chg="addSp modSp new mod ord">
        <pc:chgData name="Loto admin studio" userId="a8e4de7fefc2f42b" providerId="LiveId" clId="{32C8424F-0765-4F16-9237-ECC585E04C88}" dt="2023-06-14T22:55:46.263" v="444" actId="20577"/>
        <pc:sldMkLst>
          <pc:docMk/>
          <pc:sldMk cId="1656974995" sldId="1006"/>
        </pc:sldMkLst>
        <pc:spChg chg="mod">
          <ac:chgData name="Loto admin studio" userId="a8e4de7fefc2f42b" providerId="LiveId" clId="{32C8424F-0765-4F16-9237-ECC585E04C88}" dt="2023-06-14T22:55:25.650" v="408" actId="20577"/>
          <ac:spMkLst>
            <pc:docMk/>
            <pc:sldMk cId="1656974995" sldId="1006"/>
            <ac:spMk id="2" creationId="{C2FA29FC-AFD6-A8E4-0102-926F878295D1}"/>
          </ac:spMkLst>
        </pc:spChg>
        <pc:spChg chg="mod">
          <ac:chgData name="Loto admin studio" userId="a8e4de7fefc2f42b" providerId="LiveId" clId="{32C8424F-0765-4F16-9237-ECC585E04C88}" dt="2023-06-14T22:55:46.263" v="444" actId="20577"/>
          <ac:spMkLst>
            <pc:docMk/>
            <pc:sldMk cId="1656974995" sldId="1006"/>
            <ac:spMk id="3" creationId="{2A047D8E-6D07-66D9-14AA-33CFDBCCB838}"/>
          </ac:spMkLst>
        </pc:spChg>
        <pc:picChg chg="add mod">
          <ac:chgData name="Loto admin studio" userId="a8e4de7fefc2f42b" providerId="LiveId" clId="{32C8424F-0765-4F16-9237-ECC585E04C88}" dt="2023-06-14T22:54:58.790" v="386"/>
          <ac:picMkLst>
            <pc:docMk/>
            <pc:sldMk cId="1656974995" sldId="1006"/>
            <ac:picMk id="4" creationId="{0396C4B5-21F8-3704-16AF-A1BC6062918E}"/>
          </ac:picMkLst>
        </pc:picChg>
        <pc:picChg chg="add mod">
          <ac:chgData name="Loto admin studio" userId="a8e4de7fefc2f42b" providerId="LiveId" clId="{32C8424F-0765-4F16-9237-ECC585E04C88}" dt="2023-06-14T22:55:20.999" v="391" actId="1076"/>
          <ac:picMkLst>
            <pc:docMk/>
            <pc:sldMk cId="1656974995" sldId="1006"/>
            <ac:picMk id="5" creationId="{7E1C04A9-08F2-90F5-D2C0-C3445E8EDA56}"/>
          </ac:picMkLst>
        </pc:picChg>
      </pc:sldChg>
      <pc:sldChg chg="addSp modSp new mod ord">
        <pc:chgData name="Loto admin studio" userId="a8e4de7fefc2f42b" providerId="LiveId" clId="{32C8424F-0765-4F16-9237-ECC585E04C88}" dt="2023-06-14T22:57:04.282" v="507"/>
        <pc:sldMkLst>
          <pc:docMk/>
          <pc:sldMk cId="3048395202" sldId="1007"/>
        </pc:sldMkLst>
        <pc:spChg chg="mod">
          <ac:chgData name="Loto admin studio" userId="a8e4de7fefc2f42b" providerId="LiveId" clId="{32C8424F-0765-4F16-9237-ECC585E04C88}" dt="2023-06-14T22:56:50.897" v="505" actId="20577"/>
          <ac:spMkLst>
            <pc:docMk/>
            <pc:sldMk cId="3048395202" sldId="1007"/>
            <ac:spMk id="2" creationId="{BBAA3906-1461-F7EB-2BE9-922EBFC78290}"/>
          </ac:spMkLst>
        </pc:spChg>
        <pc:spChg chg="mod">
          <ac:chgData name="Loto admin studio" userId="a8e4de7fefc2f42b" providerId="LiveId" clId="{32C8424F-0765-4F16-9237-ECC585E04C88}" dt="2023-06-14T22:56:46.774" v="491" actId="20577"/>
          <ac:spMkLst>
            <pc:docMk/>
            <pc:sldMk cId="3048395202" sldId="1007"/>
            <ac:spMk id="3" creationId="{31BCDCCE-5E11-2DFA-D2E3-E5C8489FFB00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5" creationId="{6A2C3A91-85F1-9C80-5A04-62CD306CE133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6" creationId="{0897A476-D143-B669-46D2-8495C84DC321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7" creationId="{27F3D24E-5376-390E-8B16-8E4E05E0D475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8" creationId="{67C58833-C9C8-5BEF-9547-D8A3EC59778C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9" creationId="{CC3A2B1F-8FD5-B37C-C746-5723311AAF58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10" creationId="{D56C4053-A798-181E-2941-4035B41E4090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11" creationId="{DD163BD2-98AE-E43C-6B60-90EB19399C57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12" creationId="{C4BC9851-7B29-6DA0-310C-4F5B6C172E4F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13" creationId="{69B78D76-04A8-0A9F-81C0-996B8AC811BF}"/>
          </ac:spMkLst>
        </pc:spChg>
        <pc:spChg chg="add mod">
          <ac:chgData name="Loto admin studio" userId="a8e4de7fefc2f42b" providerId="LiveId" clId="{32C8424F-0765-4F16-9237-ECC585E04C88}" dt="2023-06-14T22:56:31.529" v="451"/>
          <ac:spMkLst>
            <pc:docMk/>
            <pc:sldMk cId="3048395202" sldId="1007"/>
            <ac:spMk id="14" creationId="{51A7E125-1DE3-0B63-1DFB-D8ABDE902A6A}"/>
          </ac:spMkLst>
        </pc:spChg>
        <pc:picChg chg="add mod">
          <ac:chgData name="Loto admin studio" userId="a8e4de7fefc2f42b" providerId="LiveId" clId="{32C8424F-0765-4F16-9237-ECC585E04C88}" dt="2023-06-14T22:56:31.529" v="451"/>
          <ac:picMkLst>
            <pc:docMk/>
            <pc:sldMk cId="3048395202" sldId="1007"/>
            <ac:picMk id="4" creationId="{EA7C14CC-1063-72C5-8738-D655CE59CDB8}"/>
          </ac:picMkLst>
        </pc:picChg>
      </pc:sldChg>
      <pc:sldChg chg="addSp modSp new mod ord">
        <pc:chgData name="Loto admin studio" userId="a8e4de7fefc2f42b" providerId="LiveId" clId="{32C8424F-0765-4F16-9237-ECC585E04C88}" dt="2023-06-14T23:02:50.508" v="586" actId="20577"/>
        <pc:sldMkLst>
          <pc:docMk/>
          <pc:sldMk cId="768404819" sldId="1008"/>
        </pc:sldMkLst>
        <pc:spChg chg="mod">
          <ac:chgData name="Loto admin studio" userId="a8e4de7fefc2f42b" providerId="LiveId" clId="{32C8424F-0765-4F16-9237-ECC585E04C88}" dt="2023-06-14T23:02:50.508" v="586" actId="20577"/>
          <ac:spMkLst>
            <pc:docMk/>
            <pc:sldMk cId="768404819" sldId="1008"/>
            <ac:spMk id="2" creationId="{85F2C5D7-1AAE-386C-DFDD-0867E2591591}"/>
          </ac:spMkLst>
        </pc:spChg>
        <pc:spChg chg="mod">
          <ac:chgData name="Loto admin studio" userId="a8e4de7fefc2f42b" providerId="LiveId" clId="{32C8424F-0765-4F16-9237-ECC585E04C88}" dt="2023-06-14T23:02:36.383" v="572" actId="20577"/>
          <ac:spMkLst>
            <pc:docMk/>
            <pc:sldMk cId="768404819" sldId="1008"/>
            <ac:spMk id="3" creationId="{C84413B6-E8C2-2DDA-903F-1CF8EB8E6B24}"/>
          </ac:spMkLst>
        </pc:spChg>
        <pc:spChg chg="add mod">
          <ac:chgData name="Loto admin studio" userId="a8e4de7fefc2f42b" providerId="LiveId" clId="{32C8424F-0765-4F16-9237-ECC585E04C88}" dt="2023-06-14T23:02:32.015" v="561"/>
          <ac:spMkLst>
            <pc:docMk/>
            <pc:sldMk cId="768404819" sldId="1008"/>
            <ac:spMk id="5" creationId="{E58AF862-37DA-639E-53E9-3DB14A254ED6}"/>
          </ac:spMkLst>
        </pc:spChg>
        <pc:picChg chg="add mod">
          <ac:chgData name="Loto admin studio" userId="a8e4de7fefc2f42b" providerId="LiveId" clId="{32C8424F-0765-4F16-9237-ECC585E04C88}" dt="2023-06-14T23:02:32.015" v="561"/>
          <ac:picMkLst>
            <pc:docMk/>
            <pc:sldMk cId="768404819" sldId="1008"/>
            <ac:picMk id="4" creationId="{E1886DBE-FE3D-FDCB-42BA-BE3C77BA87A4}"/>
          </ac:picMkLst>
        </pc:picChg>
      </pc:sldChg>
      <pc:sldChg chg="new del">
        <pc:chgData name="Loto admin studio" userId="a8e4de7fefc2f42b" providerId="LiveId" clId="{32C8424F-0765-4F16-9237-ECC585E04C88}" dt="2023-06-14T23:02:00.099" v="554" actId="47"/>
        <pc:sldMkLst>
          <pc:docMk/>
          <pc:sldMk cId="1544524455" sldId="1008"/>
        </pc:sldMkLst>
      </pc:sldChg>
      <pc:sldChg chg="new del">
        <pc:chgData name="Loto admin studio" userId="a8e4de7fefc2f42b" providerId="LiveId" clId="{32C8424F-0765-4F16-9237-ECC585E04C88}" dt="2023-06-14T23:04:25.901" v="599" actId="47"/>
        <pc:sldMkLst>
          <pc:docMk/>
          <pc:sldMk cId="2430355566" sldId="1009"/>
        </pc:sldMkLst>
      </pc:sldChg>
      <pc:sldChg chg="new del">
        <pc:chgData name="Loto admin studio" userId="a8e4de7fefc2f42b" providerId="LiveId" clId="{32C8424F-0765-4F16-9237-ECC585E04C88}" dt="2023-06-14T23:04:25.901" v="599" actId="47"/>
        <pc:sldMkLst>
          <pc:docMk/>
          <pc:sldMk cId="46961584" sldId="1010"/>
        </pc:sldMkLst>
      </pc:sldChg>
      <pc:sldChg chg="addSp delSp modSp add mod">
        <pc:chgData name="Loto admin studio" userId="a8e4de7fefc2f42b" providerId="LiveId" clId="{32C8424F-0765-4F16-9237-ECC585E04C88}" dt="2023-06-14T23:03:25.002" v="591"/>
        <pc:sldMkLst>
          <pc:docMk/>
          <pc:sldMk cId="540188285" sldId="1011"/>
        </pc:sldMkLst>
        <pc:spChg chg="del">
          <ac:chgData name="Loto admin studio" userId="a8e4de7fefc2f42b" providerId="LiveId" clId="{32C8424F-0765-4F16-9237-ECC585E04C88}" dt="2023-06-14T23:03:21.886" v="590" actId="478"/>
          <ac:spMkLst>
            <pc:docMk/>
            <pc:sldMk cId="540188285" sldId="1011"/>
            <ac:spMk id="5" creationId="{E58AF862-37DA-639E-53E9-3DB14A254ED6}"/>
          </ac:spMkLst>
        </pc:spChg>
        <pc:spChg chg="add mod">
          <ac:chgData name="Loto admin studio" userId="a8e4de7fefc2f42b" providerId="LiveId" clId="{32C8424F-0765-4F16-9237-ECC585E04C88}" dt="2023-06-14T23:03:25.002" v="591"/>
          <ac:spMkLst>
            <pc:docMk/>
            <pc:sldMk cId="540188285" sldId="1011"/>
            <ac:spMk id="6" creationId="{85564AA4-B4A5-21A4-B98C-6684D71AF27D}"/>
          </ac:spMkLst>
        </pc:spChg>
        <pc:picChg chg="del">
          <ac:chgData name="Loto admin studio" userId="a8e4de7fefc2f42b" providerId="LiveId" clId="{32C8424F-0765-4F16-9237-ECC585E04C88}" dt="2023-06-14T23:03:18.230" v="589" actId="478"/>
          <ac:picMkLst>
            <pc:docMk/>
            <pc:sldMk cId="540188285" sldId="1011"/>
            <ac:picMk id="4" creationId="{E1886DBE-FE3D-FDCB-42BA-BE3C77BA87A4}"/>
          </ac:picMkLst>
        </pc:picChg>
        <pc:picChg chg="add mod">
          <ac:chgData name="Loto admin studio" userId="a8e4de7fefc2f42b" providerId="LiveId" clId="{32C8424F-0765-4F16-9237-ECC585E04C88}" dt="2023-06-14T23:03:25.002" v="591"/>
          <ac:picMkLst>
            <pc:docMk/>
            <pc:sldMk cId="540188285" sldId="1011"/>
            <ac:picMk id="7" creationId="{E76D534A-9BAF-9A5E-A199-A364557C8E89}"/>
          </ac:picMkLst>
        </pc:picChg>
      </pc:sldChg>
      <pc:sldChg chg="addSp delSp modSp add mod">
        <pc:chgData name="Loto admin studio" userId="a8e4de7fefc2f42b" providerId="LiveId" clId="{32C8424F-0765-4F16-9237-ECC585E04C88}" dt="2023-06-14T23:04:11.344" v="597"/>
        <pc:sldMkLst>
          <pc:docMk/>
          <pc:sldMk cId="792232207" sldId="1012"/>
        </pc:sldMkLst>
        <pc:spChg chg="del">
          <ac:chgData name="Loto admin studio" userId="a8e4de7fefc2f42b" providerId="LiveId" clId="{32C8424F-0765-4F16-9237-ECC585E04C88}" dt="2023-06-14T23:04:00.683" v="595" actId="478"/>
          <ac:spMkLst>
            <pc:docMk/>
            <pc:sldMk cId="792232207" sldId="1012"/>
            <ac:spMk id="6" creationId="{85564AA4-B4A5-21A4-B98C-6684D71AF27D}"/>
          </ac:spMkLst>
        </pc:spChg>
        <pc:picChg chg="add mod">
          <ac:chgData name="Loto admin studio" userId="a8e4de7fefc2f42b" providerId="LiveId" clId="{32C8424F-0765-4F16-9237-ECC585E04C88}" dt="2023-06-14T23:04:11.344" v="597"/>
          <ac:picMkLst>
            <pc:docMk/>
            <pc:sldMk cId="792232207" sldId="1012"/>
            <ac:picMk id="4" creationId="{BC6ED59B-B78C-B72C-68FC-DE603CF46A99}"/>
          </ac:picMkLst>
        </pc:picChg>
        <pc:picChg chg="del">
          <ac:chgData name="Loto admin studio" userId="a8e4de7fefc2f42b" providerId="LiveId" clId="{32C8424F-0765-4F16-9237-ECC585E04C88}" dt="2023-06-14T23:03:57.039" v="594" actId="478"/>
          <ac:picMkLst>
            <pc:docMk/>
            <pc:sldMk cId="792232207" sldId="1012"/>
            <ac:picMk id="7" creationId="{E76D534A-9BAF-9A5E-A199-A364557C8E89}"/>
          </ac:picMkLst>
        </pc:picChg>
      </pc:sldChg>
      <pc:sldChg chg="addSp delSp modSp new mod">
        <pc:chgData name="Loto admin studio" userId="a8e4de7fefc2f42b" providerId="LiveId" clId="{32C8424F-0765-4F16-9237-ECC585E04C88}" dt="2023-06-14T23:23:38.472" v="764" actId="1076"/>
        <pc:sldMkLst>
          <pc:docMk/>
          <pc:sldMk cId="2555547718" sldId="1013"/>
        </pc:sldMkLst>
        <pc:spChg chg="mod">
          <ac:chgData name="Loto admin studio" userId="a8e4de7fefc2f42b" providerId="LiveId" clId="{32C8424F-0765-4F16-9237-ECC585E04C88}" dt="2023-06-14T23:07:28.040" v="644" actId="20577"/>
          <ac:spMkLst>
            <pc:docMk/>
            <pc:sldMk cId="2555547718" sldId="1013"/>
            <ac:spMk id="2" creationId="{77DFD56D-8892-E423-340F-5EA7925FFAA9}"/>
          </ac:spMkLst>
        </pc:spChg>
        <pc:spChg chg="mod">
          <ac:chgData name="Loto admin studio" userId="a8e4de7fefc2f42b" providerId="LiveId" clId="{32C8424F-0765-4F16-9237-ECC585E04C88}" dt="2023-06-14T23:07:24.493" v="636" actId="20577"/>
          <ac:spMkLst>
            <pc:docMk/>
            <pc:sldMk cId="2555547718" sldId="1013"/>
            <ac:spMk id="3" creationId="{63A5C5BD-CBF5-6F24-4F29-221700F6EE95}"/>
          </ac:spMkLst>
        </pc:spChg>
        <pc:spChg chg="add mod">
          <ac:chgData name="Loto admin studio" userId="a8e4de7fefc2f42b" providerId="LiveId" clId="{32C8424F-0765-4F16-9237-ECC585E04C88}" dt="2023-06-14T23:22:24.689" v="757" actId="1076"/>
          <ac:spMkLst>
            <pc:docMk/>
            <pc:sldMk cId="2555547718" sldId="1013"/>
            <ac:spMk id="5" creationId="{4A6B429E-10CB-A16B-7436-C02A5BA65342}"/>
          </ac:spMkLst>
        </pc:spChg>
        <pc:spChg chg="add mod">
          <ac:chgData name="Loto admin studio" userId="a8e4de7fefc2f42b" providerId="LiveId" clId="{32C8424F-0765-4F16-9237-ECC585E04C88}" dt="2023-06-14T23:22:14.670" v="754" actId="1076"/>
          <ac:spMkLst>
            <pc:docMk/>
            <pc:sldMk cId="2555547718" sldId="1013"/>
            <ac:spMk id="7" creationId="{B57CC63E-0EFA-3C61-2409-BA07C89CB444}"/>
          </ac:spMkLst>
        </pc:spChg>
        <pc:spChg chg="add del mod">
          <ac:chgData name="Loto admin studio" userId="a8e4de7fefc2f42b" providerId="LiveId" clId="{32C8424F-0765-4F16-9237-ECC585E04C88}" dt="2023-06-14T23:21:14.139" v="743" actId="478"/>
          <ac:spMkLst>
            <pc:docMk/>
            <pc:sldMk cId="2555547718" sldId="1013"/>
            <ac:spMk id="10" creationId="{2E772F10-BC24-4518-6FF0-1A62A7EF4728}"/>
          </ac:spMkLst>
        </pc:spChg>
        <pc:spChg chg="add del mod">
          <ac:chgData name="Loto admin studio" userId="a8e4de7fefc2f42b" providerId="LiveId" clId="{32C8424F-0765-4F16-9237-ECC585E04C88}" dt="2023-06-14T23:22:17.347" v="755" actId="478"/>
          <ac:spMkLst>
            <pc:docMk/>
            <pc:sldMk cId="2555547718" sldId="1013"/>
            <ac:spMk id="13" creationId="{DB5BAD9E-D330-F902-60AA-90792AF8ED36}"/>
          </ac:spMkLst>
        </pc:spChg>
        <pc:spChg chg="add del mod">
          <ac:chgData name="Loto admin studio" userId="a8e4de7fefc2f42b" providerId="LiveId" clId="{32C8424F-0765-4F16-9237-ECC585E04C88}" dt="2023-06-14T23:23:35.283" v="763" actId="478"/>
          <ac:spMkLst>
            <pc:docMk/>
            <pc:sldMk cId="2555547718" sldId="1013"/>
            <ac:spMk id="16" creationId="{2E16B4D6-C810-01A8-7234-01F2411EE538}"/>
          </ac:spMkLst>
        </pc:spChg>
        <pc:picChg chg="add mod">
          <ac:chgData name="Loto admin studio" userId="a8e4de7fefc2f42b" providerId="LiveId" clId="{32C8424F-0765-4F16-9237-ECC585E04C88}" dt="2023-06-14T23:21:27.951" v="746" actId="1076"/>
          <ac:picMkLst>
            <pc:docMk/>
            <pc:sldMk cId="2555547718" sldId="1013"/>
            <ac:picMk id="9" creationId="{1A2D0E39-A1A8-7CB1-C152-062EBEF55E33}"/>
          </ac:picMkLst>
        </pc:picChg>
        <pc:picChg chg="add mod">
          <ac:chgData name="Loto admin studio" userId="a8e4de7fefc2f42b" providerId="LiveId" clId="{32C8424F-0765-4F16-9237-ECC585E04C88}" dt="2023-06-14T23:22:11.577" v="753" actId="1076"/>
          <ac:picMkLst>
            <pc:docMk/>
            <pc:sldMk cId="2555547718" sldId="1013"/>
            <ac:picMk id="12" creationId="{8CC3D4C9-C281-E887-A07F-6A78FCACE1E7}"/>
          </ac:picMkLst>
        </pc:picChg>
        <pc:picChg chg="add mod modCrop">
          <ac:chgData name="Loto admin studio" userId="a8e4de7fefc2f42b" providerId="LiveId" clId="{32C8424F-0765-4F16-9237-ECC585E04C88}" dt="2023-06-14T23:23:38.472" v="764" actId="1076"/>
          <ac:picMkLst>
            <pc:docMk/>
            <pc:sldMk cId="2555547718" sldId="1013"/>
            <ac:picMk id="15" creationId="{BDE770F1-BD02-F73A-DCCB-14F0F350E0B7}"/>
          </ac:picMkLst>
        </pc:picChg>
      </pc:sldChg>
      <pc:sldChg chg="addSp delSp modSp new mod">
        <pc:chgData name="Loto admin studio" userId="a8e4de7fefc2f42b" providerId="LiveId" clId="{32C8424F-0765-4F16-9237-ECC585E04C88}" dt="2023-06-14T23:16:58.597" v="731" actId="478"/>
        <pc:sldMkLst>
          <pc:docMk/>
          <pc:sldMk cId="276429428" sldId="1014"/>
        </pc:sldMkLst>
        <pc:spChg chg="mod">
          <ac:chgData name="Loto admin studio" userId="a8e4de7fefc2f42b" providerId="LiveId" clId="{32C8424F-0765-4F16-9237-ECC585E04C88}" dt="2023-06-14T23:14:50.491" v="720" actId="20577"/>
          <ac:spMkLst>
            <pc:docMk/>
            <pc:sldMk cId="276429428" sldId="1014"/>
            <ac:spMk id="2" creationId="{AF5DC34C-56E7-3252-7D12-02FEA98B7BD3}"/>
          </ac:spMkLst>
        </pc:spChg>
        <pc:spChg chg="mod">
          <ac:chgData name="Loto admin studio" userId="a8e4de7fefc2f42b" providerId="LiveId" clId="{32C8424F-0765-4F16-9237-ECC585E04C88}" dt="2023-06-14T23:14:46.591" v="709" actId="20577"/>
          <ac:spMkLst>
            <pc:docMk/>
            <pc:sldMk cId="276429428" sldId="1014"/>
            <ac:spMk id="3" creationId="{1AF8D729-D73C-639D-0217-815ED4187410}"/>
          </ac:spMkLst>
        </pc:spChg>
        <pc:spChg chg="add del mod">
          <ac:chgData name="Loto admin studio" userId="a8e4de7fefc2f42b" providerId="LiveId" clId="{32C8424F-0765-4F16-9237-ECC585E04C88}" dt="2023-06-14T23:16:58.597" v="731" actId="478"/>
          <ac:spMkLst>
            <pc:docMk/>
            <pc:sldMk cId="276429428" sldId="1014"/>
            <ac:spMk id="6" creationId="{D905894E-06F8-7DBE-CA0A-DCDD5B59CD7F}"/>
          </ac:spMkLst>
        </pc:spChg>
        <pc:picChg chg="add mod">
          <ac:chgData name="Loto admin studio" userId="a8e4de7fefc2f42b" providerId="LiveId" clId="{32C8424F-0765-4F16-9237-ECC585E04C88}" dt="2023-06-14T23:16:54.414" v="730" actId="14100"/>
          <ac:picMkLst>
            <pc:docMk/>
            <pc:sldMk cId="276429428" sldId="1014"/>
            <ac:picMk id="5" creationId="{9BAD45FF-4A34-A8DA-3A88-B983095DCAB6}"/>
          </ac:picMkLst>
        </pc:picChg>
      </pc:sldChg>
      <pc:sldChg chg="addSp delSp modSp add mod">
        <pc:chgData name="Loto admin studio" userId="a8e4de7fefc2f42b" providerId="LiveId" clId="{32C8424F-0765-4F16-9237-ECC585E04C88}" dt="2023-06-14T23:18:16.567" v="739" actId="1076"/>
        <pc:sldMkLst>
          <pc:docMk/>
          <pc:sldMk cId="2874587602" sldId="1015"/>
        </pc:sldMkLst>
        <pc:spChg chg="add mod">
          <ac:chgData name="Loto admin studio" userId="a8e4de7fefc2f42b" providerId="LiveId" clId="{32C8424F-0765-4F16-9237-ECC585E04C88}" dt="2023-06-14T23:17:44.385" v="737" actId="14100"/>
          <ac:spMkLst>
            <pc:docMk/>
            <pc:sldMk cId="2874587602" sldId="1015"/>
            <ac:spMk id="6" creationId="{0C196221-94AE-D8AA-FF9B-A835F495D862}"/>
          </ac:spMkLst>
        </pc:spChg>
        <pc:picChg chg="del">
          <ac:chgData name="Loto admin studio" userId="a8e4de7fefc2f42b" providerId="LiveId" clId="{32C8424F-0765-4F16-9237-ECC585E04C88}" dt="2023-06-14T23:17:37.248" v="733" actId="478"/>
          <ac:picMkLst>
            <pc:docMk/>
            <pc:sldMk cId="2874587602" sldId="1015"/>
            <ac:picMk id="5" creationId="{9BAD45FF-4A34-A8DA-3A88-B983095DCAB6}"/>
          </ac:picMkLst>
        </pc:picChg>
        <pc:picChg chg="add mod">
          <ac:chgData name="Loto admin studio" userId="a8e4de7fefc2f42b" providerId="LiveId" clId="{32C8424F-0765-4F16-9237-ECC585E04C88}" dt="2023-06-14T23:18:16.567" v="739" actId="1076"/>
          <ac:picMkLst>
            <pc:docMk/>
            <pc:sldMk cId="2874587602" sldId="1015"/>
            <ac:picMk id="8" creationId="{9E5DEAD6-C71E-DF9B-ECF2-95CA8B611257}"/>
          </ac:picMkLst>
        </pc:picChg>
      </pc:sldChg>
    </pc:docChg>
  </pc:docChgLst>
  <pc:docChgLst>
    <pc:chgData name="Eduard Eugenio Duarte Sepulveda" userId="d6757e78-5d77-4033-bc1e-7634d9cd1525" providerId="ADAL" clId="{5DF622DD-7543-4CD8-88CC-75EE5A4EC4CB}"/>
    <pc:docChg chg="undo redo custSel addSld delSld modSld sldOrd">
      <pc:chgData name="Eduard Eugenio Duarte Sepulveda" userId="d6757e78-5d77-4033-bc1e-7634d9cd1525" providerId="ADAL" clId="{5DF622DD-7543-4CD8-88CC-75EE5A4EC4CB}" dt="2023-06-04T05:48:43.331" v="6474" actId="20577"/>
      <pc:docMkLst>
        <pc:docMk/>
      </pc:docMkLst>
      <pc:sldChg chg="delSp modSp mod delDesignElem">
        <pc:chgData name="Eduard Eugenio Duarte Sepulveda" userId="d6757e78-5d77-4033-bc1e-7634d9cd1525" providerId="ADAL" clId="{5DF622DD-7543-4CD8-88CC-75EE5A4EC4CB}" dt="2023-06-03T05:16:45.770" v="104"/>
        <pc:sldMkLst>
          <pc:docMk/>
          <pc:sldMk cId="2745828918" sldId="256"/>
        </pc:sldMkLst>
        <pc:spChg chg="mod">
          <ac:chgData name="Eduard Eugenio Duarte Sepulveda" userId="d6757e78-5d77-4033-bc1e-7634d9cd1525" providerId="ADAL" clId="{5DF622DD-7543-4CD8-88CC-75EE5A4EC4CB}" dt="2023-06-03T04:38:24.780" v="10" actId="20577"/>
          <ac:spMkLst>
            <pc:docMk/>
            <pc:sldMk cId="2745828918" sldId="256"/>
            <ac:spMk id="2" creationId="{7D6CA50C-1A88-4B3F-A34F-FE199F4205A2}"/>
          </ac:spMkLst>
        </pc:spChg>
        <pc:spChg chg="mod">
          <ac:chgData name="Eduard Eugenio Duarte Sepulveda" userId="d6757e78-5d77-4033-bc1e-7634d9cd1525" providerId="ADAL" clId="{5DF622DD-7543-4CD8-88CC-75EE5A4EC4CB}" dt="2023-06-03T04:39:27.042" v="81" actId="20577"/>
          <ac:spMkLst>
            <pc:docMk/>
            <pc:sldMk cId="2745828918" sldId="256"/>
            <ac:spMk id="3" creationId="{C9CC2D51-705E-403A-AC0E-9157DC5513A8}"/>
          </ac:spMkLst>
        </pc:spChg>
        <pc:spChg chg="mod">
          <ac:chgData name="Eduard Eugenio Duarte Sepulveda" userId="d6757e78-5d77-4033-bc1e-7634d9cd1525" providerId="ADAL" clId="{5DF622DD-7543-4CD8-88CC-75EE5A4EC4CB}" dt="2023-06-03T04:39:38.473" v="82" actId="1076"/>
          <ac:spMkLst>
            <pc:docMk/>
            <pc:sldMk cId="2745828918" sldId="256"/>
            <ac:spMk id="6" creationId="{5B43162C-F4D5-98DA-3B95-C3EF7B5B4E2D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745828918" sldId="256"/>
            <ac:spMk id="2063" creationId="{D1628877-E08F-4E76-A6D9-CAFB570DB8D3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745828918" sldId="256"/>
            <ac:spMk id="2064" creationId="{57587975-CDAC-4067-A9DD-FF1F73F8494E}"/>
          </ac:spMkLst>
        </pc:spChg>
      </pc:sldChg>
      <pc:sldChg chg="delSp modSp mod ord delDesignElem">
        <pc:chgData name="Eduard Eugenio Duarte Sepulveda" userId="d6757e78-5d77-4033-bc1e-7634d9cd1525" providerId="ADAL" clId="{5DF622DD-7543-4CD8-88CC-75EE5A4EC4CB}" dt="2023-06-04T05:25:36.710" v="5634"/>
        <pc:sldMkLst>
          <pc:docMk/>
          <pc:sldMk cId="1396896027" sldId="260"/>
        </pc:sldMkLst>
        <pc:spChg chg="mod">
          <ac:chgData name="Eduard Eugenio Duarte Sepulveda" userId="d6757e78-5d77-4033-bc1e-7634d9cd1525" providerId="ADAL" clId="{5DF622DD-7543-4CD8-88CC-75EE5A4EC4CB}" dt="2023-06-03T20:44:02.158" v="1620" actId="27636"/>
          <ac:spMkLst>
            <pc:docMk/>
            <pc:sldMk cId="1396896027" sldId="260"/>
            <ac:spMk id="2" creationId="{DFE1F858-2A30-4F73-962A-B70A9326A7C2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396896027" sldId="260"/>
            <ac:spMk id="13" creationId="{72AC46CB-E41C-431E-B498-6295C0C5E3F1}"/>
          </ac:spMkLst>
        </pc:spChg>
        <pc:graphicFrameChg chg="mod">
          <ac:chgData name="Eduard Eugenio Duarte Sepulveda" userId="d6757e78-5d77-4033-bc1e-7634d9cd1525" providerId="ADAL" clId="{5DF622DD-7543-4CD8-88CC-75EE5A4EC4CB}" dt="2023-06-03T22:02:28.680" v="2119" actId="313"/>
          <ac:graphicFrameMkLst>
            <pc:docMk/>
            <pc:sldMk cId="1396896027" sldId="260"/>
            <ac:graphicFrameMk id="9" creationId="{CA1A36E6-5091-4A63-BCD5-7F73D30D6CC7}"/>
          </ac:graphicFrameMkLst>
        </pc:graphicFrameChg>
      </pc:sldChg>
      <pc:sldChg chg="delSp del delDesignElem">
        <pc:chgData name="Eduard Eugenio Duarte Sepulveda" userId="d6757e78-5d77-4033-bc1e-7634d9cd1525" providerId="ADAL" clId="{5DF622DD-7543-4CD8-88CC-75EE5A4EC4CB}" dt="2023-06-04T00:50:12.332" v="2425" actId="47"/>
        <pc:sldMkLst>
          <pc:docMk/>
          <pc:sldMk cId="295816944" sldId="261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95816944" sldId="261"/>
            <ac:spMk id="10" creationId="{474A7FC5-56F0-4FE3-8383-04EE92963F2A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95816944" sldId="261"/>
            <ac:spMk id="12" creationId="{DE6BEBC3-6A99-4A53-9835-9875E08415A6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95816944" sldId="261"/>
            <ac:spMk id="14" creationId="{D1006911-EDB8-4CDF-AEAA-A3FA060851F3}"/>
          </ac:spMkLst>
        </pc:spChg>
      </pc:sldChg>
      <pc:sldChg chg="modSp del">
        <pc:chgData name="Eduard Eugenio Duarte Sepulveda" userId="d6757e78-5d77-4033-bc1e-7634d9cd1525" providerId="ADAL" clId="{5DF622DD-7543-4CD8-88CC-75EE5A4EC4CB}" dt="2023-06-04T05:47:16.844" v="6457" actId="47"/>
        <pc:sldMkLst>
          <pc:docMk/>
          <pc:sldMk cId="1115916446" sldId="262"/>
        </pc:sldMkLst>
        <pc:spChg chg="mod">
          <ac:chgData name="Eduard Eugenio Duarte Sepulveda" userId="d6757e78-5d77-4033-bc1e-7634d9cd1525" providerId="ADAL" clId="{5DF622DD-7543-4CD8-88CC-75EE5A4EC4CB}" dt="2023-06-03T05:17:35.256" v="112"/>
          <ac:spMkLst>
            <pc:docMk/>
            <pc:sldMk cId="1115916446" sldId="262"/>
            <ac:spMk id="2" creationId="{28492750-E12D-4995-ABCB-5BB846060890}"/>
          </ac:spMkLst>
        </pc:spChg>
        <pc:graphicFrameChg chg="mod">
          <ac:chgData name="Eduard Eugenio Duarte Sepulveda" userId="d6757e78-5d77-4033-bc1e-7634d9cd1525" providerId="ADAL" clId="{5DF622DD-7543-4CD8-88CC-75EE5A4EC4CB}" dt="2023-06-03T05:16:45.770" v="104"/>
          <ac:graphicFrameMkLst>
            <pc:docMk/>
            <pc:sldMk cId="1115916446" sldId="262"/>
            <ac:graphicFrameMk id="4" creationId="{F5DF3745-CCEE-4BD3-9E49-A25F9124ACF6}"/>
          </ac:graphicFrameMkLst>
        </pc:graphicFrameChg>
      </pc:sldChg>
      <pc:sldChg chg="delSp del delDesignElem">
        <pc:chgData name="Eduard Eugenio Duarte Sepulveda" userId="d6757e78-5d77-4033-bc1e-7634d9cd1525" providerId="ADAL" clId="{5DF622DD-7543-4CD8-88CC-75EE5A4EC4CB}" dt="2023-06-03T20:11:48.663" v="1459" actId="47"/>
        <pc:sldMkLst>
          <pc:docMk/>
          <pc:sldMk cId="649079808" sldId="264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649079808" sldId="264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649079808" sldId="264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649079808" sldId="264"/>
            <ac:spMk id="17" creationId="{87ACB9FA-C8E8-43F1-868B-D328ECFC31EC}"/>
          </ac:spMkLst>
        </pc:spChg>
      </pc:sldChg>
      <pc:sldChg chg="delSp modSp add mod ord">
        <pc:chgData name="Eduard Eugenio Duarte Sepulveda" userId="d6757e78-5d77-4033-bc1e-7634d9cd1525" providerId="ADAL" clId="{5DF622DD-7543-4CD8-88CC-75EE5A4EC4CB}" dt="2023-06-04T02:59:23.356" v="2609" actId="20577"/>
        <pc:sldMkLst>
          <pc:docMk/>
          <pc:sldMk cId="3409718150" sldId="264"/>
        </pc:sldMkLst>
        <pc:spChg chg="mod">
          <ac:chgData name="Eduard Eugenio Duarte Sepulveda" userId="d6757e78-5d77-4033-bc1e-7634d9cd1525" providerId="ADAL" clId="{5DF622DD-7543-4CD8-88CC-75EE5A4EC4CB}" dt="2023-06-04T02:59:23.356" v="2609" actId="20577"/>
          <ac:spMkLst>
            <pc:docMk/>
            <pc:sldMk cId="3409718150" sldId="264"/>
            <ac:spMk id="3" creationId="{1ED91B86-61BF-9287-7CFB-469AC4058DEE}"/>
          </ac:spMkLst>
        </pc:spChg>
        <pc:spChg chg="del">
          <ac:chgData name="Eduard Eugenio Duarte Sepulveda" userId="d6757e78-5d77-4033-bc1e-7634d9cd1525" providerId="ADAL" clId="{5DF622DD-7543-4CD8-88CC-75EE5A4EC4CB}" dt="2023-06-04T02:58:59.671" v="2564" actId="478"/>
          <ac:spMkLst>
            <pc:docMk/>
            <pc:sldMk cId="3409718150" sldId="264"/>
            <ac:spMk id="14" creationId="{EFD284BD-679A-E9C4-3966-19355453FBA9}"/>
          </ac:spMkLst>
        </pc:spChg>
      </pc:sldChg>
      <pc:sldChg chg="delSp modSp mod delDesignElem">
        <pc:chgData name="Eduard Eugenio Duarte Sepulveda" userId="d6757e78-5d77-4033-bc1e-7634d9cd1525" providerId="ADAL" clId="{5DF622DD-7543-4CD8-88CC-75EE5A4EC4CB}" dt="2023-06-03T20:12:36.826" v="1466" actId="20577"/>
        <pc:sldMkLst>
          <pc:docMk/>
          <pc:sldMk cId="2648265720" sldId="265"/>
        </pc:sldMkLst>
        <pc:spChg chg="mod">
          <ac:chgData name="Eduard Eugenio Duarte Sepulveda" userId="d6757e78-5d77-4033-bc1e-7634d9cd1525" providerId="ADAL" clId="{5DF622DD-7543-4CD8-88CC-75EE5A4EC4CB}" dt="2023-06-03T20:12:36.826" v="1466" actId="20577"/>
          <ac:spMkLst>
            <pc:docMk/>
            <pc:sldMk cId="2648265720" sldId="265"/>
            <ac:spMk id="2" creationId="{72110722-2775-4A70-8182-7C215D42C9B2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648265720" sldId="265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648265720" sldId="265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648265720" sldId="265"/>
            <ac:spMk id="17" creationId="{87ACB9FA-C8E8-43F1-868B-D328ECFC31EC}"/>
          </ac:spMkLst>
        </pc:spChg>
      </pc:sldChg>
      <pc:sldChg chg="modSp mod">
        <pc:chgData name="Eduard Eugenio Duarte Sepulveda" userId="d6757e78-5d77-4033-bc1e-7634d9cd1525" providerId="ADAL" clId="{5DF622DD-7543-4CD8-88CC-75EE5A4EC4CB}" dt="2023-06-04T00:42:05.108" v="2198" actId="6549"/>
        <pc:sldMkLst>
          <pc:docMk/>
          <pc:sldMk cId="223768448" sldId="305"/>
        </pc:sldMkLst>
        <pc:spChg chg="mod">
          <ac:chgData name="Eduard Eugenio Duarte Sepulveda" userId="d6757e78-5d77-4033-bc1e-7634d9cd1525" providerId="ADAL" clId="{5DF622DD-7543-4CD8-88CC-75EE5A4EC4CB}" dt="2023-06-04T00:42:05.108" v="2198" actId="6549"/>
          <ac:spMkLst>
            <pc:docMk/>
            <pc:sldMk cId="223768448" sldId="305"/>
            <ac:spMk id="2" creationId="{F993299F-3E8A-4BF7-9C3D-B9F22CF94C4E}"/>
          </ac:spMkLst>
        </pc:spChg>
      </pc:sldChg>
      <pc:sldChg chg="addSp delSp modSp mod">
        <pc:chgData name="Eduard Eugenio Duarte Sepulveda" userId="d6757e78-5d77-4033-bc1e-7634d9cd1525" providerId="ADAL" clId="{5DF622DD-7543-4CD8-88CC-75EE5A4EC4CB}" dt="2023-06-04T00:40:54.999" v="2189" actId="478"/>
        <pc:sldMkLst>
          <pc:docMk/>
          <pc:sldMk cId="1280859528" sldId="324"/>
        </pc:sldMkLst>
        <pc:spChg chg="mod">
          <ac:chgData name="Eduard Eugenio Duarte Sepulveda" userId="d6757e78-5d77-4033-bc1e-7634d9cd1525" providerId="ADAL" clId="{5DF622DD-7543-4CD8-88CC-75EE5A4EC4CB}" dt="2023-06-04T00:39:05.807" v="2178" actId="1076"/>
          <ac:spMkLst>
            <pc:docMk/>
            <pc:sldMk cId="1280859528" sldId="324"/>
            <ac:spMk id="2" creationId="{3C5E6FE3-624F-01F0-F9A9-4E7BE95E6182}"/>
          </ac:spMkLst>
        </pc:spChg>
        <pc:spChg chg="del mod">
          <ac:chgData name="Eduard Eugenio Duarte Sepulveda" userId="d6757e78-5d77-4033-bc1e-7634d9cd1525" providerId="ADAL" clId="{5DF622DD-7543-4CD8-88CC-75EE5A4EC4CB}" dt="2023-06-04T00:38:03.666" v="2171" actId="478"/>
          <ac:spMkLst>
            <pc:docMk/>
            <pc:sldMk cId="1280859528" sldId="324"/>
            <ac:spMk id="3" creationId="{D0A136D9-8436-6257-359D-EB432B00A1DD}"/>
          </ac:spMkLst>
        </pc:spChg>
        <pc:spChg chg="del">
          <ac:chgData name="Eduard Eugenio Duarte Sepulveda" userId="d6757e78-5d77-4033-bc1e-7634d9cd1525" providerId="ADAL" clId="{5DF622DD-7543-4CD8-88CC-75EE5A4EC4CB}" dt="2023-06-04T00:39:21.909" v="2180" actId="478"/>
          <ac:spMkLst>
            <pc:docMk/>
            <pc:sldMk cId="1280859528" sldId="324"/>
            <ac:spMk id="10" creationId="{F2A6810D-A558-3EA6-1770-A2F97D3C5BB1}"/>
          </ac:spMkLst>
        </pc:spChg>
        <pc:spChg chg="add del mod">
          <ac:chgData name="Eduard Eugenio Duarte Sepulveda" userId="d6757e78-5d77-4033-bc1e-7634d9cd1525" providerId="ADAL" clId="{5DF622DD-7543-4CD8-88CC-75EE5A4EC4CB}" dt="2023-06-04T00:39:41.633" v="2184"/>
          <ac:spMkLst>
            <pc:docMk/>
            <pc:sldMk cId="1280859528" sldId="324"/>
            <ac:spMk id="11" creationId="{AC63CD07-3452-C7A5-67C5-8F126384F329}"/>
          </ac:spMkLst>
        </pc:spChg>
        <pc:spChg chg="add del mod">
          <ac:chgData name="Eduard Eugenio Duarte Sepulveda" userId="d6757e78-5d77-4033-bc1e-7634d9cd1525" providerId="ADAL" clId="{5DF622DD-7543-4CD8-88CC-75EE5A4EC4CB}" dt="2023-06-04T00:39:41.633" v="2184"/>
          <ac:spMkLst>
            <pc:docMk/>
            <pc:sldMk cId="1280859528" sldId="324"/>
            <ac:spMk id="13" creationId="{E8045EBE-E4B0-CA49-19A5-07AC160016D7}"/>
          </ac:spMkLst>
        </pc:spChg>
        <pc:spChg chg="add mod">
          <ac:chgData name="Eduard Eugenio Duarte Sepulveda" userId="d6757e78-5d77-4033-bc1e-7634d9cd1525" providerId="ADAL" clId="{5DF622DD-7543-4CD8-88CC-75EE5A4EC4CB}" dt="2023-06-04T00:39:49.919" v="2186" actId="1076"/>
          <ac:spMkLst>
            <pc:docMk/>
            <pc:sldMk cId="1280859528" sldId="324"/>
            <ac:spMk id="15" creationId="{B96B82D1-46CA-4140-38C3-0545B2175086}"/>
          </ac:spMkLst>
        </pc:spChg>
        <pc:spChg chg="add mod">
          <ac:chgData name="Eduard Eugenio Duarte Sepulveda" userId="d6757e78-5d77-4033-bc1e-7634d9cd1525" providerId="ADAL" clId="{5DF622DD-7543-4CD8-88CC-75EE5A4EC4CB}" dt="2023-06-04T00:39:49.919" v="2186" actId="1076"/>
          <ac:spMkLst>
            <pc:docMk/>
            <pc:sldMk cId="1280859528" sldId="324"/>
            <ac:spMk id="17" creationId="{FE87149C-7B37-4B5A-456A-1C9B877459C0}"/>
          </ac:spMkLst>
        </pc:spChg>
        <pc:spChg chg="del">
          <ac:chgData name="Eduard Eugenio Duarte Sepulveda" userId="d6757e78-5d77-4033-bc1e-7634d9cd1525" providerId="ADAL" clId="{5DF622DD-7543-4CD8-88CC-75EE5A4EC4CB}" dt="2023-06-04T00:39:14.533" v="2179" actId="478"/>
          <ac:spMkLst>
            <pc:docMk/>
            <pc:sldMk cId="1280859528" sldId="324"/>
            <ac:spMk id="24" creationId="{8ED806E6-E9D5-EF34-844B-0AC454EDCADA}"/>
          </ac:spMkLst>
        </pc:spChg>
        <pc:spChg chg="del">
          <ac:chgData name="Eduard Eugenio Duarte Sepulveda" userId="d6757e78-5d77-4033-bc1e-7634d9cd1525" providerId="ADAL" clId="{5DF622DD-7543-4CD8-88CC-75EE5A4EC4CB}" dt="2023-06-04T00:39:25.261" v="2181" actId="478"/>
          <ac:spMkLst>
            <pc:docMk/>
            <pc:sldMk cId="1280859528" sldId="324"/>
            <ac:spMk id="29" creationId="{DD39695D-CED5-B341-5D5F-68A7135D9E6A}"/>
          </ac:spMkLst>
        </pc:spChg>
        <pc:spChg chg="mod">
          <ac:chgData name="Eduard Eugenio Duarte Sepulveda" userId="d6757e78-5d77-4033-bc1e-7634d9cd1525" providerId="ADAL" clId="{5DF622DD-7543-4CD8-88CC-75EE5A4EC4CB}" dt="2023-06-04T00:38:33.089" v="2174" actId="1076"/>
          <ac:spMkLst>
            <pc:docMk/>
            <pc:sldMk cId="1280859528" sldId="324"/>
            <ac:spMk id="259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0:37:46.708" v="2166" actId="6549"/>
          <ac:spMkLst>
            <pc:docMk/>
            <pc:sldMk cId="1280859528" sldId="324"/>
            <ac:spMk id="271" creationId="{00000000-0000-0000-0000-000000000000}"/>
          </ac:spMkLst>
        </pc:spChg>
        <pc:picChg chg="add del mod">
          <ac:chgData name="Eduard Eugenio Duarte Sepulveda" userId="d6757e78-5d77-4033-bc1e-7634d9cd1525" providerId="ADAL" clId="{5DF622DD-7543-4CD8-88CC-75EE5A4EC4CB}" dt="2023-06-04T00:39:41.633" v="2184"/>
          <ac:picMkLst>
            <pc:docMk/>
            <pc:sldMk cId="1280859528" sldId="324"/>
            <ac:picMk id="7" creationId="{A29FA298-73D1-38FD-42C2-03B5033029EC}"/>
          </ac:picMkLst>
        </pc:picChg>
        <pc:picChg chg="add del mod">
          <ac:chgData name="Eduard Eugenio Duarte Sepulveda" userId="d6757e78-5d77-4033-bc1e-7634d9cd1525" providerId="ADAL" clId="{5DF622DD-7543-4CD8-88CC-75EE5A4EC4CB}" dt="2023-06-04T00:39:41.633" v="2184"/>
          <ac:picMkLst>
            <pc:docMk/>
            <pc:sldMk cId="1280859528" sldId="324"/>
            <ac:picMk id="12" creationId="{30E352A6-5FC3-3920-19D8-8CAE3A154534}"/>
          </ac:picMkLst>
        </pc:picChg>
        <pc:picChg chg="add mod">
          <ac:chgData name="Eduard Eugenio Duarte Sepulveda" userId="d6757e78-5d77-4033-bc1e-7634d9cd1525" providerId="ADAL" clId="{5DF622DD-7543-4CD8-88CC-75EE5A4EC4CB}" dt="2023-06-04T00:39:49.919" v="2186" actId="1076"/>
          <ac:picMkLst>
            <pc:docMk/>
            <pc:sldMk cId="1280859528" sldId="324"/>
            <ac:picMk id="14" creationId="{83A124AB-4024-9AFA-7611-2A455163686B}"/>
          </ac:picMkLst>
        </pc:picChg>
        <pc:picChg chg="add mod">
          <ac:chgData name="Eduard Eugenio Duarte Sepulveda" userId="d6757e78-5d77-4033-bc1e-7634d9cd1525" providerId="ADAL" clId="{5DF622DD-7543-4CD8-88CC-75EE5A4EC4CB}" dt="2023-06-04T00:39:49.919" v="2186" actId="1076"/>
          <ac:picMkLst>
            <pc:docMk/>
            <pc:sldMk cId="1280859528" sldId="324"/>
            <ac:picMk id="16" creationId="{2D078050-C48D-1EBD-143C-C442CE45906A}"/>
          </ac:picMkLst>
        </pc:picChg>
        <pc:picChg chg="add del mod">
          <ac:chgData name="Eduard Eugenio Duarte Sepulveda" userId="d6757e78-5d77-4033-bc1e-7634d9cd1525" providerId="ADAL" clId="{5DF622DD-7543-4CD8-88CC-75EE5A4EC4CB}" dt="2023-06-04T00:40:54.999" v="2189" actId="478"/>
          <ac:picMkLst>
            <pc:docMk/>
            <pc:sldMk cId="1280859528" sldId="324"/>
            <ac:picMk id="1026" creationId="{59A6BB29-9CDA-EC9D-B44E-288EBB2CB161}"/>
          </ac:picMkLst>
        </pc:picChg>
      </pc:sldChg>
      <pc:sldChg chg="delSp modSp mod delDesignElem">
        <pc:chgData name="Eduard Eugenio Duarte Sepulveda" userId="d6757e78-5d77-4033-bc1e-7634d9cd1525" providerId="ADAL" clId="{5DF622DD-7543-4CD8-88CC-75EE5A4EC4CB}" dt="2023-06-04T00:41:49.284" v="2197" actId="1076"/>
        <pc:sldMkLst>
          <pc:docMk/>
          <pc:sldMk cId="2810944551" sldId="328"/>
        </pc:sldMkLst>
        <pc:spChg chg="mod">
          <ac:chgData name="Eduard Eugenio Duarte Sepulveda" userId="d6757e78-5d77-4033-bc1e-7634d9cd1525" providerId="ADAL" clId="{5DF622DD-7543-4CD8-88CC-75EE5A4EC4CB}" dt="2023-06-04T00:41:49.284" v="2197" actId="1076"/>
          <ac:spMkLst>
            <pc:docMk/>
            <pc:sldMk cId="2810944551" sldId="328"/>
            <ac:spMk id="2" creationId="{F993299F-3E8A-4BF7-9C3D-B9F22CF94C4E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810944551" sldId="328"/>
            <ac:spMk id="1031" creationId="{D1628877-E08F-4E76-A6D9-CAFB570DB8D3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810944551" sldId="328"/>
            <ac:spMk id="1033" creationId="{57587975-CDAC-4067-A9DD-FF1F73F8494E}"/>
          </ac:spMkLst>
        </pc:spChg>
      </pc:sldChg>
      <pc:sldChg chg="delSp modSp mod delDesignElem">
        <pc:chgData name="Eduard Eugenio Duarte Sepulveda" userId="d6757e78-5d77-4033-bc1e-7634d9cd1525" providerId="ADAL" clId="{5DF622DD-7543-4CD8-88CC-75EE5A4EC4CB}" dt="2023-06-04T05:48:05.065" v="6458" actId="20577"/>
        <pc:sldMkLst>
          <pc:docMk/>
          <pc:sldMk cId="766382387" sldId="336"/>
        </pc:sldMkLst>
        <pc:spChg chg="mod">
          <ac:chgData name="Eduard Eugenio Duarte Sepulveda" userId="d6757e78-5d77-4033-bc1e-7634d9cd1525" providerId="ADAL" clId="{5DF622DD-7543-4CD8-88CC-75EE5A4EC4CB}" dt="2023-06-04T05:48:05.065" v="6458" actId="20577"/>
          <ac:spMkLst>
            <pc:docMk/>
            <pc:sldMk cId="766382387" sldId="336"/>
            <ac:spMk id="2" creationId="{72110722-2775-4A70-8182-7C215D42C9B2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766382387" sldId="336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766382387" sldId="336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766382387" sldId="336"/>
            <ac:spMk id="17" creationId="{87ACB9FA-C8E8-43F1-868B-D328ECFC31EC}"/>
          </ac:spMkLst>
        </pc:spChg>
        <pc:spChg chg="mod">
          <ac:chgData name="Eduard Eugenio Duarte Sepulveda" userId="d6757e78-5d77-4033-bc1e-7634d9cd1525" providerId="ADAL" clId="{5DF622DD-7543-4CD8-88CC-75EE5A4EC4CB}" dt="2023-06-03T20:16:18.696" v="1592" actId="20577"/>
          <ac:spMkLst>
            <pc:docMk/>
            <pc:sldMk cId="766382387" sldId="336"/>
            <ac:spMk id="28" creationId="{8D18A08F-ABF0-5180-E2AD-C995E8FC1F3D}"/>
          </ac:spMkLst>
        </pc:spChg>
      </pc:sldChg>
      <pc:sldChg chg="delSp del mod">
        <pc:chgData name="Eduard Eugenio Duarte Sepulveda" userId="d6757e78-5d77-4033-bc1e-7634d9cd1525" providerId="ADAL" clId="{5DF622DD-7543-4CD8-88CC-75EE5A4EC4CB}" dt="2023-06-04T00:41:16.772" v="2190" actId="47"/>
        <pc:sldMkLst>
          <pc:docMk/>
          <pc:sldMk cId="2321842164" sldId="340"/>
        </pc:sldMkLst>
        <pc:spChg chg="del">
          <ac:chgData name="Eduard Eugenio Duarte Sepulveda" userId="d6757e78-5d77-4033-bc1e-7634d9cd1525" providerId="ADAL" clId="{5DF622DD-7543-4CD8-88CC-75EE5A4EC4CB}" dt="2023-06-04T00:39:35.922" v="2182" actId="21"/>
          <ac:spMkLst>
            <pc:docMk/>
            <pc:sldMk cId="2321842164" sldId="340"/>
            <ac:spMk id="46" creationId="{C0B21760-1217-F747-F097-A6A4047F3737}"/>
          </ac:spMkLst>
        </pc:spChg>
        <pc:spChg chg="del">
          <ac:chgData name="Eduard Eugenio Duarte Sepulveda" userId="d6757e78-5d77-4033-bc1e-7634d9cd1525" providerId="ADAL" clId="{5DF622DD-7543-4CD8-88CC-75EE5A4EC4CB}" dt="2023-06-04T00:39:35.922" v="2182" actId="21"/>
          <ac:spMkLst>
            <pc:docMk/>
            <pc:sldMk cId="2321842164" sldId="340"/>
            <ac:spMk id="50" creationId="{EBE81B9E-6CBD-942A-01CA-D38A399E71E0}"/>
          </ac:spMkLst>
        </pc:spChg>
        <pc:picChg chg="del">
          <ac:chgData name="Eduard Eugenio Duarte Sepulveda" userId="d6757e78-5d77-4033-bc1e-7634d9cd1525" providerId="ADAL" clId="{5DF622DD-7543-4CD8-88CC-75EE5A4EC4CB}" dt="2023-06-04T00:39:35.922" v="2182" actId="21"/>
          <ac:picMkLst>
            <pc:docMk/>
            <pc:sldMk cId="2321842164" sldId="340"/>
            <ac:picMk id="45" creationId="{C9E85D23-706D-257D-48DA-FA03442B22B4}"/>
          </ac:picMkLst>
        </pc:picChg>
        <pc:picChg chg="del">
          <ac:chgData name="Eduard Eugenio Duarte Sepulveda" userId="d6757e78-5d77-4033-bc1e-7634d9cd1525" providerId="ADAL" clId="{5DF622DD-7543-4CD8-88CC-75EE5A4EC4CB}" dt="2023-06-04T00:39:35.922" v="2182" actId="21"/>
          <ac:picMkLst>
            <pc:docMk/>
            <pc:sldMk cId="2321842164" sldId="340"/>
            <ac:picMk id="49" creationId="{15D82F8D-A747-74DF-A162-8BD119197EAC}"/>
          </ac:picMkLst>
        </pc:picChg>
      </pc:sldChg>
      <pc:sldChg chg="delSp modSp mod delDesignElem">
        <pc:chgData name="Eduard Eugenio Duarte Sepulveda" userId="d6757e78-5d77-4033-bc1e-7634d9cd1525" providerId="ADAL" clId="{5DF622DD-7543-4CD8-88CC-75EE5A4EC4CB}" dt="2023-06-03T20:11:02.311" v="1458" actId="120"/>
        <pc:sldMkLst>
          <pc:docMk/>
          <pc:sldMk cId="2217636796" sldId="344"/>
        </pc:sldMkLst>
        <pc:spChg chg="mod">
          <ac:chgData name="Eduard Eugenio Duarte Sepulveda" userId="d6757e78-5d77-4033-bc1e-7634d9cd1525" providerId="ADAL" clId="{5DF622DD-7543-4CD8-88CC-75EE5A4EC4CB}" dt="2023-06-03T20:09:25.909" v="1453" actId="255"/>
          <ac:spMkLst>
            <pc:docMk/>
            <pc:sldMk cId="2217636796" sldId="344"/>
            <ac:spMk id="2" creationId="{72110722-2775-4A70-8182-7C215D42C9B2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217636796" sldId="344"/>
            <ac:spMk id="13" creationId="{0F9DE327-AEAE-44B2-8483-660A265AE3D5}"/>
          </ac:spMkLst>
        </pc:spChg>
        <pc:spChg chg="mod">
          <ac:chgData name="Eduard Eugenio Duarte Sepulveda" userId="d6757e78-5d77-4033-bc1e-7634d9cd1525" providerId="ADAL" clId="{5DF622DD-7543-4CD8-88CC-75EE5A4EC4CB}" dt="2023-06-03T20:10:54.700" v="1456" actId="120"/>
          <ac:spMkLst>
            <pc:docMk/>
            <pc:sldMk cId="2217636796" sldId="344"/>
            <ac:spMk id="14" creationId="{7E4DA7E3-9020-B010-FE8C-EF82CFF313D2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217636796" sldId="344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217636796" sldId="344"/>
            <ac:spMk id="17" creationId="{87ACB9FA-C8E8-43F1-868B-D328ECFC31EC}"/>
          </ac:spMkLst>
        </pc:spChg>
        <pc:spChg chg="mod">
          <ac:chgData name="Eduard Eugenio Duarte Sepulveda" userId="d6757e78-5d77-4033-bc1e-7634d9cd1525" providerId="ADAL" clId="{5DF622DD-7543-4CD8-88CC-75EE5A4EC4CB}" dt="2023-06-03T20:10:58.560" v="1457" actId="120"/>
          <ac:spMkLst>
            <pc:docMk/>
            <pc:sldMk cId="2217636796" sldId="344"/>
            <ac:spMk id="20" creationId="{506DDE55-EA75-4413-0328-7FB1C5F6597E}"/>
          </ac:spMkLst>
        </pc:spChg>
        <pc:spChg chg="mod">
          <ac:chgData name="Eduard Eugenio Duarte Sepulveda" userId="d6757e78-5d77-4033-bc1e-7634d9cd1525" providerId="ADAL" clId="{5DF622DD-7543-4CD8-88CC-75EE5A4EC4CB}" dt="2023-06-03T20:11:02.311" v="1458" actId="120"/>
          <ac:spMkLst>
            <pc:docMk/>
            <pc:sldMk cId="2217636796" sldId="344"/>
            <ac:spMk id="24" creationId="{263D9762-07C0-329B-CE9E-A2248742A313}"/>
          </ac:spMkLst>
        </pc:spChg>
        <pc:spChg chg="mod">
          <ac:chgData name="Eduard Eugenio Duarte Sepulveda" userId="d6757e78-5d77-4033-bc1e-7634d9cd1525" providerId="ADAL" clId="{5DF622DD-7543-4CD8-88CC-75EE5A4EC4CB}" dt="2023-06-03T20:10:49.884" v="1455" actId="120"/>
          <ac:spMkLst>
            <pc:docMk/>
            <pc:sldMk cId="2217636796" sldId="344"/>
            <ac:spMk id="26" creationId="{76AC018A-4FE5-70D0-B2AF-F0C4EE5D087A}"/>
          </ac:spMkLst>
        </pc:spChg>
      </pc:sldChg>
      <pc:sldChg chg="delSp modSp mod delDesignElem">
        <pc:chgData name="Eduard Eugenio Duarte Sepulveda" userId="d6757e78-5d77-4033-bc1e-7634d9cd1525" providerId="ADAL" clId="{5DF622DD-7543-4CD8-88CC-75EE5A4EC4CB}" dt="2023-06-04T00:45:41.229" v="2395" actId="20577"/>
        <pc:sldMkLst>
          <pc:docMk/>
          <pc:sldMk cId="3515436777" sldId="345"/>
        </pc:sldMkLst>
        <pc:spChg chg="mod">
          <ac:chgData name="Eduard Eugenio Duarte Sepulveda" userId="d6757e78-5d77-4033-bc1e-7634d9cd1525" providerId="ADAL" clId="{5DF622DD-7543-4CD8-88CC-75EE5A4EC4CB}" dt="2023-06-04T00:42:19.876" v="2199" actId="20577"/>
          <ac:spMkLst>
            <pc:docMk/>
            <pc:sldMk cId="3515436777" sldId="345"/>
            <ac:spMk id="2" creationId="{72110722-2775-4A70-8182-7C215D42C9B2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3515436777" sldId="345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3515436777" sldId="345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3515436777" sldId="345"/>
            <ac:spMk id="17" creationId="{87ACB9FA-C8E8-43F1-868B-D328ECFC31EC}"/>
          </ac:spMkLst>
        </pc:spChg>
        <pc:spChg chg="mod">
          <ac:chgData name="Eduard Eugenio Duarte Sepulveda" userId="d6757e78-5d77-4033-bc1e-7634d9cd1525" providerId="ADAL" clId="{5DF622DD-7543-4CD8-88CC-75EE5A4EC4CB}" dt="2023-06-04T00:45:41.229" v="2395" actId="20577"/>
          <ac:spMkLst>
            <pc:docMk/>
            <pc:sldMk cId="3515436777" sldId="345"/>
            <ac:spMk id="20" creationId="{2AEE42AB-FDD9-4156-43EF-70228DA0496A}"/>
          </ac:spMkLst>
        </pc:spChg>
        <pc:graphicFrameChg chg="mod">
          <ac:chgData name="Eduard Eugenio Duarte Sepulveda" userId="d6757e78-5d77-4033-bc1e-7634d9cd1525" providerId="ADAL" clId="{5DF622DD-7543-4CD8-88CC-75EE5A4EC4CB}" dt="2023-06-04T00:43:32.734" v="2291" actId="20577"/>
          <ac:graphicFrameMkLst>
            <pc:docMk/>
            <pc:sldMk cId="3515436777" sldId="345"/>
            <ac:graphicFrameMk id="19" creationId="{0ED5E709-9ECA-FEE4-39DF-099B974FDD40}"/>
          </ac:graphicFrameMkLst>
        </pc:graphicFrame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1332651704" sldId="346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332651704" sldId="346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332651704" sldId="346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332651704" sldId="346"/>
            <ac:spMk id="17" creationId="{87ACB9FA-C8E8-43F1-868B-D328ECFC31EC}"/>
          </ac:spMkLst>
        </pc:sp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1701305916" sldId="348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701305916" sldId="348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701305916" sldId="348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701305916" sldId="348"/>
            <ac:spMk id="17" creationId="{87ACB9FA-C8E8-43F1-868B-D328ECFC31EC}"/>
          </ac:spMkLst>
        </pc:sp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4160392184" sldId="349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4160392184" sldId="349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4160392184" sldId="349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4160392184" sldId="349"/>
            <ac:spMk id="17" creationId="{87ACB9FA-C8E8-43F1-868B-D328ECFC31EC}"/>
          </ac:spMkLst>
        </pc:sp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1747004196" sldId="351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747004196" sldId="351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747004196" sldId="351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1747004196" sldId="351"/>
            <ac:spMk id="17" creationId="{87ACB9FA-C8E8-43F1-868B-D328ECFC31EC}"/>
          </ac:spMkLst>
        </pc:sp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3958833172" sldId="353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3958833172" sldId="353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3958833172" sldId="353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3958833172" sldId="353"/>
            <ac:spMk id="17" creationId="{87ACB9FA-C8E8-43F1-868B-D328ECFC31EC}"/>
          </ac:spMkLst>
        </pc:sp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4289556671" sldId="354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4289556671" sldId="354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4289556671" sldId="354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4289556671" sldId="354"/>
            <ac:spMk id="17" creationId="{87ACB9FA-C8E8-43F1-868B-D328ECFC31EC}"/>
          </ac:spMkLst>
        </pc:sp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2566650081" sldId="355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566650081" sldId="355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566650081" sldId="355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2566650081" sldId="355"/>
            <ac:spMk id="17" creationId="{87ACB9FA-C8E8-43F1-868B-D328ECFC31EC}"/>
          </ac:spMkLst>
        </pc:spChg>
      </pc:sldChg>
      <pc:sldChg chg="delSp del delDesignElem">
        <pc:chgData name="Eduard Eugenio Duarte Sepulveda" userId="d6757e78-5d77-4033-bc1e-7634d9cd1525" providerId="ADAL" clId="{5DF622DD-7543-4CD8-88CC-75EE5A4EC4CB}" dt="2023-06-04T00:46:42.196" v="2396" actId="47"/>
        <pc:sldMkLst>
          <pc:docMk/>
          <pc:sldMk cId="891181972" sldId="356"/>
        </pc:sldMkLst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891181972" sldId="356"/>
            <ac:spMk id="13" creationId="{0F9DE327-AEAE-44B2-8483-660A265AE3D5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891181972" sldId="356"/>
            <ac:spMk id="15" creationId="{C1492CA2-7E37-4577-8E02-1E79AE7EED79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891181972" sldId="356"/>
            <ac:spMk id="17" creationId="{87ACB9FA-C8E8-43F1-868B-D328ECFC31EC}"/>
          </ac:spMkLst>
        </pc:spChg>
      </pc:sldChg>
      <pc:sldChg chg="delSp modSp mod delDesignElem">
        <pc:chgData name="Eduard Eugenio Duarte Sepulveda" userId="d6757e78-5d77-4033-bc1e-7634d9cd1525" providerId="ADAL" clId="{5DF622DD-7543-4CD8-88CC-75EE5A4EC4CB}" dt="2023-06-04T02:20:41.813" v="2558" actId="20577"/>
        <pc:sldMkLst>
          <pc:docMk/>
          <pc:sldMk cId="792558552" sldId="357"/>
        </pc:sldMkLst>
        <pc:spChg chg="mod">
          <ac:chgData name="Eduard Eugenio Duarte Sepulveda" userId="d6757e78-5d77-4033-bc1e-7634d9cd1525" providerId="ADAL" clId="{5DF622DD-7543-4CD8-88CC-75EE5A4EC4CB}" dt="2023-06-04T02:20:41.813" v="2558" actId="20577"/>
          <ac:spMkLst>
            <pc:docMk/>
            <pc:sldMk cId="792558552" sldId="357"/>
            <ac:spMk id="2" creationId="{F993299F-3E8A-4BF7-9C3D-B9F22CF94C4E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792558552" sldId="357"/>
            <ac:spMk id="1031" creationId="{D1628877-E08F-4E76-A6D9-CAFB570DB8D3}"/>
          </ac:spMkLst>
        </pc:spChg>
        <pc:spChg chg="del">
          <ac:chgData name="Eduard Eugenio Duarte Sepulveda" userId="d6757e78-5d77-4033-bc1e-7634d9cd1525" providerId="ADAL" clId="{5DF622DD-7543-4CD8-88CC-75EE5A4EC4CB}" dt="2023-06-03T05:16:45.770" v="104"/>
          <ac:spMkLst>
            <pc:docMk/>
            <pc:sldMk cId="792558552" sldId="357"/>
            <ac:spMk id="1033" creationId="{57587975-CDAC-4067-A9DD-FF1F73F8494E}"/>
          </ac:spMkLst>
        </pc:spChg>
      </pc:sldChg>
      <pc:sldChg chg="del">
        <pc:chgData name="Eduard Eugenio Duarte Sepulveda" userId="d6757e78-5d77-4033-bc1e-7634d9cd1525" providerId="ADAL" clId="{5DF622DD-7543-4CD8-88CC-75EE5A4EC4CB}" dt="2023-06-04T00:46:53.564" v="2397" actId="47"/>
        <pc:sldMkLst>
          <pc:docMk/>
          <pc:sldMk cId="4015063117" sldId="362"/>
        </pc:sldMkLst>
      </pc:sldChg>
      <pc:sldChg chg="del">
        <pc:chgData name="Eduard Eugenio Duarte Sepulveda" userId="d6757e78-5d77-4033-bc1e-7634d9cd1525" providerId="ADAL" clId="{5DF622DD-7543-4CD8-88CC-75EE5A4EC4CB}" dt="2023-06-04T00:46:53.564" v="2397" actId="47"/>
        <pc:sldMkLst>
          <pc:docMk/>
          <pc:sldMk cId="3227892148" sldId="365"/>
        </pc:sldMkLst>
      </pc:sldChg>
      <pc:sldChg chg="modSp mod">
        <pc:chgData name="Eduard Eugenio Duarte Sepulveda" userId="d6757e78-5d77-4033-bc1e-7634d9cd1525" providerId="ADAL" clId="{5DF622DD-7543-4CD8-88CC-75EE5A4EC4CB}" dt="2023-06-04T00:47:17.818" v="2414" actId="1076"/>
        <pc:sldMkLst>
          <pc:docMk/>
          <pc:sldMk cId="1426247789" sldId="367"/>
        </pc:sldMkLst>
        <pc:spChg chg="mod">
          <ac:chgData name="Eduard Eugenio Duarte Sepulveda" userId="d6757e78-5d77-4033-bc1e-7634d9cd1525" providerId="ADAL" clId="{5DF622DD-7543-4CD8-88CC-75EE5A4EC4CB}" dt="2023-06-04T00:47:17.818" v="2414" actId="1076"/>
          <ac:spMkLst>
            <pc:docMk/>
            <pc:sldMk cId="1426247789" sldId="367"/>
            <ac:spMk id="3" creationId="{B277B05D-4F43-7052-5FA4-E3115466D98A}"/>
          </ac:spMkLst>
        </pc:spChg>
        <pc:spChg chg="mod">
          <ac:chgData name="Eduard Eugenio Duarte Sepulveda" userId="d6757e78-5d77-4033-bc1e-7634d9cd1525" providerId="ADAL" clId="{5DF622DD-7543-4CD8-88CC-75EE5A4EC4CB}" dt="2023-06-04T00:47:10.253" v="2413" actId="20577"/>
          <ac:spMkLst>
            <pc:docMk/>
            <pc:sldMk cId="1426247789" sldId="367"/>
            <ac:spMk id="43" creationId="{00000000-0000-0000-0000-000000000000}"/>
          </ac:spMkLst>
        </pc:spChg>
      </pc:sldChg>
      <pc:sldChg chg="del">
        <pc:chgData name="Eduard Eugenio Duarte Sepulveda" userId="d6757e78-5d77-4033-bc1e-7634d9cd1525" providerId="ADAL" clId="{5DF622DD-7543-4CD8-88CC-75EE5A4EC4CB}" dt="2023-06-04T00:48:34.804" v="2416" actId="47"/>
        <pc:sldMkLst>
          <pc:docMk/>
          <pc:sldMk cId="19216225" sldId="368"/>
        </pc:sldMkLst>
      </pc:sldChg>
      <pc:sldChg chg="del">
        <pc:chgData name="Eduard Eugenio Duarte Sepulveda" userId="d6757e78-5d77-4033-bc1e-7634d9cd1525" providerId="ADAL" clId="{5DF622DD-7543-4CD8-88CC-75EE5A4EC4CB}" dt="2023-06-04T00:48:10.293" v="2415" actId="47"/>
        <pc:sldMkLst>
          <pc:docMk/>
          <pc:sldMk cId="349104398" sldId="369"/>
        </pc:sldMkLst>
      </pc:sldChg>
      <pc:sldChg chg="modSp mod">
        <pc:chgData name="Eduard Eugenio Duarte Sepulveda" userId="d6757e78-5d77-4033-bc1e-7634d9cd1525" providerId="ADAL" clId="{5DF622DD-7543-4CD8-88CC-75EE5A4EC4CB}" dt="2023-06-03T05:17:35.450" v="118" actId="27636"/>
        <pc:sldMkLst>
          <pc:docMk/>
          <pc:sldMk cId="1788449467" sldId="371"/>
        </pc:sldMkLst>
        <pc:spChg chg="mod">
          <ac:chgData name="Eduard Eugenio Duarte Sepulveda" userId="d6757e78-5d77-4033-bc1e-7634d9cd1525" providerId="ADAL" clId="{5DF622DD-7543-4CD8-88CC-75EE5A4EC4CB}" dt="2023-06-03T05:17:35.450" v="118" actId="27636"/>
          <ac:spMkLst>
            <pc:docMk/>
            <pc:sldMk cId="1788449467" sldId="371"/>
            <ac:spMk id="5" creationId="{8A4F15F2-B14D-F383-81E3-C70098D9D39E}"/>
          </ac:spMkLst>
        </pc:spChg>
      </pc:sldChg>
      <pc:sldChg chg="modSp del mod">
        <pc:chgData name="Eduard Eugenio Duarte Sepulveda" userId="d6757e78-5d77-4033-bc1e-7634d9cd1525" providerId="ADAL" clId="{5DF622DD-7543-4CD8-88CC-75EE5A4EC4CB}" dt="2023-06-04T00:48:10.293" v="2415" actId="47"/>
        <pc:sldMkLst>
          <pc:docMk/>
          <pc:sldMk cId="2528555462" sldId="372"/>
        </pc:sldMkLst>
        <pc:spChg chg="mod">
          <ac:chgData name="Eduard Eugenio Duarte Sepulveda" userId="d6757e78-5d77-4033-bc1e-7634d9cd1525" providerId="ADAL" clId="{5DF622DD-7543-4CD8-88CC-75EE5A4EC4CB}" dt="2023-06-03T05:17:35.450" v="117" actId="27636"/>
          <ac:spMkLst>
            <pc:docMk/>
            <pc:sldMk cId="2528555462" sldId="372"/>
            <ac:spMk id="5" creationId="{8A4F15F2-B14D-F383-81E3-C70098D9D39E}"/>
          </ac:spMkLst>
        </pc:spChg>
      </pc:sldChg>
      <pc:sldChg chg="modSp mod">
        <pc:chgData name="Eduard Eugenio Duarte Sepulveda" userId="d6757e78-5d77-4033-bc1e-7634d9cd1525" providerId="ADAL" clId="{5DF622DD-7543-4CD8-88CC-75EE5A4EC4CB}" dt="2023-06-04T00:48:56.392" v="2417" actId="20577"/>
        <pc:sldMkLst>
          <pc:docMk/>
          <pc:sldMk cId="4069699740" sldId="373"/>
        </pc:sldMkLst>
        <pc:spChg chg="mod">
          <ac:chgData name="Eduard Eugenio Duarte Sepulveda" userId="d6757e78-5d77-4033-bc1e-7634d9cd1525" providerId="ADAL" clId="{5DF622DD-7543-4CD8-88CC-75EE5A4EC4CB}" dt="2023-06-03T05:17:35.478" v="119" actId="27636"/>
          <ac:spMkLst>
            <pc:docMk/>
            <pc:sldMk cId="4069699740" sldId="373"/>
            <ac:spMk id="5" creationId="{8A4F15F2-B14D-F383-81E3-C70098D9D39E}"/>
          </ac:spMkLst>
        </pc:spChg>
        <pc:spChg chg="mod">
          <ac:chgData name="Eduard Eugenio Duarte Sepulveda" userId="d6757e78-5d77-4033-bc1e-7634d9cd1525" providerId="ADAL" clId="{5DF622DD-7543-4CD8-88CC-75EE5A4EC4CB}" dt="2023-06-04T00:48:56.392" v="2417" actId="20577"/>
          <ac:spMkLst>
            <pc:docMk/>
            <pc:sldMk cId="4069699740" sldId="373"/>
            <ac:spMk id="43" creationId="{00000000-0000-0000-0000-000000000000}"/>
          </ac:spMkLst>
        </pc:spChg>
      </pc:sldChg>
      <pc:sldChg chg="modSp mod">
        <pc:chgData name="Eduard Eugenio Duarte Sepulveda" userId="d6757e78-5d77-4033-bc1e-7634d9cd1525" providerId="ADAL" clId="{5DF622DD-7543-4CD8-88CC-75EE5A4EC4CB}" dt="2023-06-04T02:06:32.798" v="2449" actId="20577"/>
        <pc:sldMkLst>
          <pc:docMk/>
          <pc:sldMk cId="2897807698" sldId="374"/>
        </pc:sldMkLst>
        <pc:spChg chg="mod">
          <ac:chgData name="Eduard Eugenio Duarte Sepulveda" userId="d6757e78-5d77-4033-bc1e-7634d9cd1525" providerId="ADAL" clId="{5DF622DD-7543-4CD8-88CC-75EE5A4EC4CB}" dt="2023-06-03T05:17:35.494" v="120" actId="27636"/>
          <ac:spMkLst>
            <pc:docMk/>
            <pc:sldMk cId="2897807698" sldId="374"/>
            <ac:spMk id="5" creationId="{8A4F15F2-B14D-F383-81E3-C70098D9D39E}"/>
          </ac:spMkLst>
        </pc:spChg>
        <pc:spChg chg="mod">
          <ac:chgData name="Eduard Eugenio Duarte Sepulveda" userId="d6757e78-5d77-4033-bc1e-7634d9cd1525" providerId="ADAL" clId="{5DF622DD-7543-4CD8-88CC-75EE5A4EC4CB}" dt="2023-06-04T02:06:32.798" v="2449" actId="20577"/>
          <ac:spMkLst>
            <pc:docMk/>
            <pc:sldMk cId="2897807698" sldId="374"/>
            <ac:spMk id="43" creationId="{00000000-0000-0000-0000-000000000000}"/>
          </ac:spMkLst>
        </pc:spChg>
      </pc:sldChg>
      <pc:sldChg chg="modSp del mod">
        <pc:chgData name="Eduard Eugenio Duarte Sepulveda" userId="d6757e78-5d77-4033-bc1e-7634d9cd1525" providerId="ADAL" clId="{5DF622DD-7543-4CD8-88CC-75EE5A4EC4CB}" dt="2023-06-04T00:49:06.065" v="2418" actId="47"/>
        <pc:sldMkLst>
          <pc:docMk/>
          <pc:sldMk cId="4107775723" sldId="375"/>
        </pc:sldMkLst>
        <pc:spChg chg="mod">
          <ac:chgData name="Eduard Eugenio Duarte Sepulveda" userId="d6757e78-5d77-4033-bc1e-7634d9cd1525" providerId="ADAL" clId="{5DF622DD-7543-4CD8-88CC-75EE5A4EC4CB}" dt="2023-06-03T05:17:35.509" v="121" actId="27636"/>
          <ac:spMkLst>
            <pc:docMk/>
            <pc:sldMk cId="4107775723" sldId="375"/>
            <ac:spMk id="5" creationId="{8A4F15F2-B14D-F383-81E3-C70098D9D39E}"/>
          </ac:spMkLst>
        </pc:spChg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1088675769" sldId="376"/>
        </pc:sldMkLst>
      </pc:sldChg>
      <pc:sldChg chg="add">
        <pc:chgData name="Eduard Eugenio Duarte Sepulveda" userId="d6757e78-5d77-4033-bc1e-7634d9cd1525" providerId="ADAL" clId="{5DF622DD-7543-4CD8-88CC-75EE5A4EC4CB}" dt="2023-06-04T02:17:11.544" v="2450"/>
        <pc:sldMkLst>
          <pc:docMk/>
          <pc:sldMk cId="3053829060" sldId="376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1091095860" sldId="377"/>
        </pc:sldMkLst>
      </pc:sldChg>
      <pc:sldChg chg="add">
        <pc:chgData name="Eduard Eugenio Duarte Sepulveda" userId="d6757e78-5d77-4033-bc1e-7634d9cd1525" providerId="ADAL" clId="{5DF622DD-7543-4CD8-88CC-75EE5A4EC4CB}" dt="2023-06-04T02:17:11.544" v="2450"/>
        <pc:sldMkLst>
          <pc:docMk/>
          <pc:sldMk cId="4152345853" sldId="378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3229314956" sldId="379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3276995560" sldId="380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2057974174" sldId="381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227039250" sldId="382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4102078299" sldId="383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1473135782" sldId="384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385069287" sldId="385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4054654455" sldId="386"/>
        </pc:sldMkLst>
      </pc:sldChg>
      <pc:sldChg chg="del">
        <pc:chgData name="Eduard Eugenio Duarte Sepulveda" userId="d6757e78-5d77-4033-bc1e-7634d9cd1525" providerId="ADAL" clId="{5DF622DD-7543-4CD8-88CC-75EE5A4EC4CB}" dt="2023-06-04T00:49:17.607" v="2419" actId="47"/>
        <pc:sldMkLst>
          <pc:docMk/>
          <pc:sldMk cId="3599394733" sldId="387"/>
        </pc:sldMkLst>
      </pc:sldChg>
      <pc:sldChg chg="addSp modSp new del mod">
        <pc:chgData name="Eduard Eugenio Duarte Sepulveda" userId="d6757e78-5d77-4033-bc1e-7634d9cd1525" providerId="ADAL" clId="{5DF622DD-7543-4CD8-88CC-75EE5A4EC4CB}" dt="2023-06-04T05:28:18.115" v="5688" actId="47"/>
        <pc:sldMkLst>
          <pc:docMk/>
          <pc:sldMk cId="2506315140" sldId="388"/>
        </pc:sldMkLst>
        <pc:spChg chg="mod">
          <ac:chgData name="Eduard Eugenio Duarte Sepulveda" userId="d6757e78-5d77-4033-bc1e-7634d9cd1525" providerId="ADAL" clId="{5DF622DD-7543-4CD8-88CC-75EE5A4EC4CB}" dt="2023-06-04T03:36:18.424" v="2707" actId="313"/>
          <ac:spMkLst>
            <pc:docMk/>
            <pc:sldMk cId="2506315140" sldId="388"/>
            <ac:spMk id="2" creationId="{7A1ADE96-79DF-7077-A849-8FA98F494870}"/>
          </ac:spMkLst>
        </pc:spChg>
        <pc:spChg chg="add mod">
          <ac:chgData name="Eduard Eugenio Duarte Sepulveda" userId="d6757e78-5d77-4033-bc1e-7634d9cd1525" providerId="ADAL" clId="{5DF622DD-7543-4CD8-88CC-75EE5A4EC4CB}" dt="2023-06-04T04:05:32.341" v="4247" actId="20577"/>
          <ac:spMkLst>
            <pc:docMk/>
            <pc:sldMk cId="2506315140" sldId="388"/>
            <ac:spMk id="3" creationId="{A84A8C78-3EA9-E603-8911-926DE91FB6B3}"/>
          </ac:spMkLst>
        </pc:spChg>
      </pc:sldChg>
      <pc:sldChg chg="modSp add del">
        <pc:chgData name="Eduard Eugenio Duarte Sepulveda" userId="d6757e78-5d77-4033-bc1e-7634d9cd1525" providerId="ADAL" clId="{5DF622DD-7543-4CD8-88CC-75EE5A4EC4CB}" dt="2023-06-04T05:28:28.946" v="5689" actId="47"/>
        <pc:sldMkLst>
          <pc:docMk/>
          <pc:sldMk cId="4274798624" sldId="389"/>
        </pc:sldMkLst>
        <pc:spChg chg="mod">
          <ac:chgData name="Eduard Eugenio Duarte Sepulveda" userId="d6757e78-5d77-4033-bc1e-7634d9cd1525" providerId="ADAL" clId="{5DF622DD-7543-4CD8-88CC-75EE5A4EC4CB}" dt="2023-06-03T05:17:35.256" v="112"/>
          <ac:spMkLst>
            <pc:docMk/>
            <pc:sldMk cId="4274798624" sldId="389"/>
            <ac:spMk id="2" creationId="{28492750-E12D-4995-ABCB-5BB846060890}"/>
          </ac:spMkLst>
        </pc:spChg>
        <pc:graphicFrameChg chg="mod">
          <ac:chgData name="Eduard Eugenio Duarte Sepulveda" userId="d6757e78-5d77-4033-bc1e-7634d9cd1525" providerId="ADAL" clId="{5DF622DD-7543-4CD8-88CC-75EE5A4EC4CB}" dt="2023-06-03T05:16:45.770" v="104"/>
          <ac:graphicFrameMkLst>
            <pc:docMk/>
            <pc:sldMk cId="4274798624" sldId="389"/>
            <ac:graphicFrameMk id="4" creationId="{F5DF3745-CCEE-4BD3-9E49-A25F9124ACF6}"/>
          </ac:graphicFrameMkLst>
        </pc:graphicFrameChg>
      </pc:sldChg>
      <pc:sldChg chg="addSp delSp modSp add del mod">
        <pc:chgData name="Eduard Eugenio Duarte Sepulveda" userId="d6757e78-5d77-4033-bc1e-7634d9cd1525" providerId="ADAL" clId="{5DF622DD-7543-4CD8-88CC-75EE5A4EC4CB}" dt="2023-06-04T05:09:23.660" v="5443" actId="47"/>
        <pc:sldMkLst>
          <pc:docMk/>
          <pc:sldMk cId="3028011611" sldId="474"/>
        </pc:sldMkLst>
        <pc:spChg chg="del mod">
          <ac:chgData name="Eduard Eugenio Duarte Sepulveda" userId="d6757e78-5d77-4033-bc1e-7634d9cd1525" providerId="ADAL" clId="{5DF622DD-7543-4CD8-88CC-75EE5A4EC4CB}" dt="2023-06-04T05:08:21.405" v="5434" actId="478"/>
          <ac:spMkLst>
            <pc:docMk/>
            <pc:sldMk cId="3028011611" sldId="474"/>
            <ac:spMk id="6" creationId="{775D1907-A04B-0052-2A8A-D0A847D2A841}"/>
          </ac:spMkLst>
        </pc:spChg>
        <pc:spChg chg="del">
          <ac:chgData name="Eduard Eugenio Duarte Sepulveda" userId="d6757e78-5d77-4033-bc1e-7634d9cd1525" providerId="ADAL" clId="{5DF622DD-7543-4CD8-88CC-75EE5A4EC4CB}" dt="2023-06-04T05:08:30.335" v="5435" actId="478"/>
          <ac:spMkLst>
            <pc:docMk/>
            <pc:sldMk cId="3028011611" sldId="474"/>
            <ac:spMk id="7" creationId="{E9FBD3A9-10CD-CF3F-6504-092487D7B426}"/>
          </ac:spMkLst>
        </pc:spChg>
        <pc:spChg chg="del">
          <ac:chgData name="Eduard Eugenio Duarte Sepulveda" userId="d6757e78-5d77-4033-bc1e-7634d9cd1525" providerId="ADAL" clId="{5DF622DD-7543-4CD8-88CC-75EE5A4EC4CB}" dt="2023-06-04T05:08:14.749" v="5432" actId="478"/>
          <ac:spMkLst>
            <pc:docMk/>
            <pc:sldMk cId="3028011611" sldId="474"/>
            <ac:spMk id="9" creationId="{D83D12C2-9A7D-4AD0-A020-CA1825D018E9}"/>
          </ac:spMkLst>
        </pc:spChg>
        <pc:spChg chg="del mod">
          <ac:chgData name="Eduard Eugenio Duarte Sepulveda" userId="d6757e78-5d77-4033-bc1e-7634d9cd1525" providerId="ADAL" clId="{5DF622DD-7543-4CD8-88CC-75EE5A4EC4CB}" dt="2023-06-04T05:08:12.587" v="5431" actId="478"/>
          <ac:spMkLst>
            <pc:docMk/>
            <pc:sldMk cId="3028011611" sldId="474"/>
            <ac:spMk id="10" creationId="{A1CBED61-1F00-4158-889B-46BB1DA843A4}"/>
          </ac:spMkLst>
        </pc:spChg>
        <pc:spChg chg="del">
          <ac:chgData name="Eduard Eugenio Duarte Sepulveda" userId="d6757e78-5d77-4033-bc1e-7634d9cd1525" providerId="ADAL" clId="{5DF622DD-7543-4CD8-88CC-75EE5A4EC4CB}" dt="2023-06-04T05:08:06.461" v="5428" actId="478"/>
          <ac:spMkLst>
            <pc:docMk/>
            <pc:sldMk cId="3028011611" sldId="474"/>
            <ac:spMk id="11" creationId="{3CC45542-B4DF-4442-BEB6-6704978415C4}"/>
          </ac:spMkLst>
        </pc:spChg>
        <pc:spChg chg="del">
          <ac:chgData name="Eduard Eugenio Duarte Sepulveda" userId="d6757e78-5d77-4033-bc1e-7634d9cd1525" providerId="ADAL" clId="{5DF622DD-7543-4CD8-88CC-75EE5A4EC4CB}" dt="2023-06-04T05:07:57.844" v="5426" actId="478"/>
          <ac:spMkLst>
            <pc:docMk/>
            <pc:sldMk cId="3028011611" sldId="474"/>
            <ac:spMk id="13" creationId="{4C73AE3E-E8CD-4514-919F-7197984C6FFA}"/>
          </ac:spMkLst>
        </pc:spChg>
        <pc:spChg chg="del">
          <ac:chgData name="Eduard Eugenio Duarte Sepulveda" userId="d6757e78-5d77-4033-bc1e-7634d9cd1525" providerId="ADAL" clId="{5DF622DD-7543-4CD8-88CC-75EE5A4EC4CB}" dt="2023-06-04T05:08:02.803" v="5427" actId="478"/>
          <ac:spMkLst>
            <pc:docMk/>
            <pc:sldMk cId="3028011611" sldId="474"/>
            <ac:spMk id="14" creationId="{F84904E1-752A-4D11-980E-09E90491608C}"/>
          </ac:spMkLst>
        </pc:spChg>
        <pc:spChg chg="del mod">
          <ac:chgData name="Eduard Eugenio Duarte Sepulveda" userId="d6757e78-5d77-4033-bc1e-7634d9cd1525" providerId="ADAL" clId="{5DF622DD-7543-4CD8-88CC-75EE5A4EC4CB}" dt="2023-06-04T05:07:53.330" v="5425" actId="478"/>
          <ac:spMkLst>
            <pc:docMk/>
            <pc:sldMk cId="3028011611" sldId="474"/>
            <ac:spMk id="15" creationId="{E6B2F4CF-1AE9-4E37-A1B0-88873D0EB455}"/>
          </ac:spMkLst>
        </pc:spChg>
        <pc:picChg chg="add del mod ord">
          <ac:chgData name="Eduard Eugenio Duarte Sepulveda" userId="d6757e78-5d77-4033-bc1e-7634d9cd1525" providerId="ADAL" clId="{5DF622DD-7543-4CD8-88CC-75EE5A4EC4CB}" dt="2023-06-04T05:09:01.481" v="5438" actId="21"/>
          <ac:picMkLst>
            <pc:docMk/>
            <pc:sldMk cId="3028011611" sldId="474"/>
            <ac:picMk id="3" creationId="{00000000-0000-0000-0000-000000000000}"/>
          </ac:picMkLst>
        </pc:picChg>
      </pc:sldChg>
      <pc:sldChg chg="add ord">
        <pc:chgData name="Eduard Eugenio Duarte Sepulveda" userId="d6757e78-5d77-4033-bc1e-7634d9cd1525" providerId="ADAL" clId="{5DF622DD-7543-4CD8-88CC-75EE5A4EC4CB}" dt="2023-06-04T05:24:55.912" v="5631"/>
        <pc:sldMkLst>
          <pc:docMk/>
          <pc:sldMk cId="2036976259" sldId="476"/>
        </pc:sldMkLst>
      </pc:sldChg>
      <pc:sldChg chg="modSp add mod">
        <pc:chgData name="Eduard Eugenio Duarte Sepulveda" userId="d6757e78-5d77-4033-bc1e-7634d9cd1525" providerId="ADAL" clId="{5DF622DD-7543-4CD8-88CC-75EE5A4EC4CB}" dt="2023-06-04T02:19:29.879" v="2485" actId="20577"/>
        <pc:sldMkLst>
          <pc:docMk/>
          <pc:sldMk cId="2989278067" sldId="487"/>
        </pc:sldMkLst>
        <pc:spChg chg="mod">
          <ac:chgData name="Eduard Eugenio Duarte Sepulveda" userId="d6757e78-5d77-4033-bc1e-7634d9cd1525" providerId="ADAL" clId="{5DF622DD-7543-4CD8-88CC-75EE5A4EC4CB}" dt="2023-06-04T02:19:29.879" v="2485" actId="20577"/>
          <ac:spMkLst>
            <pc:docMk/>
            <pc:sldMk cId="2989278067" sldId="487"/>
            <ac:spMk id="8" creationId="{A150D9E1-56E2-BE83-3757-22A784925755}"/>
          </ac:spMkLst>
        </pc:spChg>
      </pc:sldChg>
      <pc:sldChg chg="addSp delSp modSp add mod">
        <pc:chgData name="Eduard Eugenio Duarte Sepulveda" userId="d6757e78-5d77-4033-bc1e-7634d9cd1525" providerId="ADAL" clId="{5DF622DD-7543-4CD8-88CC-75EE5A4EC4CB}" dt="2023-06-04T05:48:43.331" v="6474" actId="20577"/>
        <pc:sldMkLst>
          <pc:docMk/>
          <pc:sldMk cId="2384151974" sldId="728"/>
        </pc:sldMkLst>
        <pc:spChg chg="mod">
          <ac:chgData name="Eduard Eugenio Duarte Sepulveda" userId="d6757e78-5d77-4033-bc1e-7634d9cd1525" providerId="ADAL" clId="{5DF622DD-7543-4CD8-88CC-75EE5A4EC4CB}" dt="2023-06-04T05:27:02.599" v="5640"/>
          <ac:spMkLst>
            <pc:docMk/>
            <pc:sldMk cId="2384151974" sldId="728"/>
            <ac:spMk id="2" creationId="{00000000-0000-0000-0000-000000000000}"/>
          </ac:spMkLst>
        </pc:spChg>
        <pc:spChg chg="add del mod">
          <ac:chgData name="Eduard Eugenio Duarte Sepulveda" userId="d6757e78-5d77-4033-bc1e-7634d9cd1525" providerId="ADAL" clId="{5DF622DD-7543-4CD8-88CC-75EE5A4EC4CB}" dt="2023-06-03T05:30:49.117" v="325" actId="478"/>
          <ac:spMkLst>
            <pc:docMk/>
            <pc:sldMk cId="2384151974" sldId="728"/>
            <ac:spMk id="8" creationId="{728FA49A-8990-AAD3-3C64-0545D424E209}"/>
          </ac:spMkLst>
        </pc:spChg>
        <pc:spChg chg="mod">
          <ac:chgData name="Eduard Eugenio Duarte Sepulveda" userId="d6757e78-5d77-4033-bc1e-7634d9cd1525" providerId="ADAL" clId="{5DF622DD-7543-4CD8-88CC-75EE5A4EC4CB}" dt="2023-06-03T05:17:35.256" v="112"/>
          <ac:spMkLst>
            <pc:docMk/>
            <pc:sldMk cId="2384151974" sldId="728"/>
            <ac:spMk id="9" creationId="{00000000-0000-0000-0000-000000000000}"/>
          </ac:spMkLst>
        </pc:spChg>
        <pc:spChg chg="add mod">
          <ac:chgData name="Eduard Eugenio Duarte Sepulveda" userId="d6757e78-5d77-4033-bc1e-7634d9cd1525" providerId="ADAL" clId="{5DF622DD-7543-4CD8-88CC-75EE5A4EC4CB}" dt="2023-06-04T05:48:43.331" v="6474" actId="20577"/>
          <ac:spMkLst>
            <pc:docMk/>
            <pc:sldMk cId="2384151974" sldId="728"/>
            <ac:spMk id="11" creationId="{D6C74055-1009-0525-7414-AEB2A3B6DDC7}"/>
          </ac:spMkLst>
        </pc:spChg>
        <pc:spChg chg="mod">
          <ac:chgData name="Eduard Eugenio Duarte Sepulveda" userId="d6757e78-5d77-4033-bc1e-7634d9cd1525" providerId="ADAL" clId="{5DF622DD-7543-4CD8-88CC-75EE5A4EC4CB}" dt="2023-06-04T05:27:17.425" v="5681" actId="20577"/>
          <ac:spMkLst>
            <pc:docMk/>
            <pc:sldMk cId="2384151974" sldId="728"/>
            <ac:spMk id="15" creationId="{00000000-0000-0000-0000-000000000000}"/>
          </ac:spMkLst>
        </pc:spChg>
        <pc:spChg chg="del">
          <ac:chgData name="Eduard Eugenio Duarte Sepulveda" userId="d6757e78-5d77-4033-bc1e-7634d9cd1525" providerId="ADAL" clId="{5DF622DD-7543-4CD8-88CC-75EE5A4EC4CB}" dt="2023-06-04T05:26:46.328" v="5637" actId="478"/>
          <ac:spMkLst>
            <pc:docMk/>
            <pc:sldMk cId="2384151974" sldId="728"/>
            <ac:spMk id="59" creationId="{00000000-0000-0000-0000-000000000000}"/>
          </ac:spMkLst>
        </pc:spChg>
        <pc:spChg chg="del mod">
          <ac:chgData name="Eduard Eugenio Duarte Sepulveda" userId="d6757e78-5d77-4033-bc1e-7634d9cd1525" providerId="ADAL" clId="{5DF622DD-7543-4CD8-88CC-75EE5A4EC4CB}" dt="2023-06-04T05:26:46.328" v="5637" actId="478"/>
          <ac:spMkLst>
            <pc:docMk/>
            <pc:sldMk cId="2384151974" sldId="728"/>
            <ac:spMk id="60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3T05:21:13.818" v="200" actId="20577"/>
          <ac:spMkLst>
            <pc:docMk/>
            <pc:sldMk cId="2384151974" sldId="728"/>
            <ac:spMk id="61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3T05:21:27.529" v="211" actId="20577"/>
          <ac:spMkLst>
            <pc:docMk/>
            <pc:sldMk cId="2384151974" sldId="728"/>
            <ac:spMk id="63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3T05:25:27.372" v="226" actId="20577"/>
          <ac:spMkLst>
            <pc:docMk/>
            <pc:sldMk cId="2384151974" sldId="728"/>
            <ac:spMk id="65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3T05:26:08.715" v="236" actId="20577"/>
          <ac:spMkLst>
            <pc:docMk/>
            <pc:sldMk cId="2384151974" sldId="728"/>
            <ac:spMk id="67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3T05:26:24.475" v="245" actId="20577"/>
          <ac:spMkLst>
            <pc:docMk/>
            <pc:sldMk cId="2384151974" sldId="728"/>
            <ac:spMk id="113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44:52.955" v="3052" actId="20577"/>
          <ac:spMkLst>
            <pc:docMk/>
            <pc:sldMk cId="2384151974" sldId="728"/>
            <ac:spMk id="139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46:27.674" v="3131" actId="120"/>
          <ac:spMkLst>
            <pc:docMk/>
            <pc:sldMk cId="2384151974" sldId="728"/>
            <ac:spMk id="140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52:34.175" v="3473" actId="1076"/>
          <ac:spMkLst>
            <pc:docMk/>
            <pc:sldMk cId="2384151974" sldId="728"/>
            <ac:spMk id="142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49:37.030" v="3360" actId="120"/>
          <ac:spMkLst>
            <pc:docMk/>
            <pc:sldMk cId="2384151974" sldId="728"/>
            <ac:spMk id="143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51:15.929" v="3394" actId="20577"/>
          <ac:spMkLst>
            <pc:docMk/>
            <pc:sldMk cId="2384151974" sldId="728"/>
            <ac:spMk id="145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44:38.320" v="3028" actId="20577"/>
          <ac:spMkLst>
            <pc:docMk/>
            <pc:sldMk cId="2384151974" sldId="728"/>
            <ac:spMk id="146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46:44.848" v="3146" actId="20577"/>
          <ac:spMkLst>
            <pc:docMk/>
            <pc:sldMk cId="2384151974" sldId="728"/>
            <ac:spMk id="148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48:47.850" v="3253" actId="20577"/>
          <ac:spMkLst>
            <pc:docMk/>
            <pc:sldMk cId="2384151974" sldId="728"/>
            <ac:spMk id="149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52:29.153" v="3472" actId="313"/>
          <ac:spMkLst>
            <pc:docMk/>
            <pc:sldMk cId="2384151974" sldId="728"/>
            <ac:spMk id="151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52:15.829" v="3470" actId="120"/>
          <ac:spMkLst>
            <pc:docMk/>
            <pc:sldMk cId="2384151974" sldId="728"/>
            <ac:spMk id="152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39:30.804" v="2759" actId="20577"/>
          <ac:spMkLst>
            <pc:docMk/>
            <pc:sldMk cId="2384151974" sldId="728"/>
            <ac:spMk id="154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41:35.503" v="2872" actId="20577"/>
          <ac:spMkLst>
            <pc:docMk/>
            <pc:sldMk cId="2384151974" sldId="728"/>
            <ac:spMk id="155" creationId="{00000000-0000-0000-0000-000000000000}"/>
          </ac:spMkLst>
        </pc:s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4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5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6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7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90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138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141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144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147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5:26:41.774" v="5636" actId="478"/>
          <ac:grpSpMkLst>
            <pc:docMk/>
            <pc:sldMk cId="2384151974" sldId="728"/>
            <ac:grpSpMk id="150" creationId="{00000000-0000-0000-0000-000000000000}"/>
          </ac:grpSpMkLst>
        </pc:grpChg>
        <pc:grpChg chg="del mod">
          <ac:chgData name="Eduard Eugenio Duarte Sepulveda" userId="d6757e78-5d77-4033-bc1e-7634d9cd1525" providerId="ADAL" clId="{5DF622DD-7543-4CD8-88CC-75EE5A4EC4CB}" dt="2023-06-04T05:26:49.314" v="5638" actId="478"/>
          <ac:grpSpMkLst>
            <pc:docMk/>
            <pc:sldMk cId="2384151974" sldId="728"/>
            <ac:grpSpMk id="153" creationId="{00000000-0000-0000-0000-000000000000}"/>
          </ac:grpSpMkLst>
        </pc:grpChg>
        <pc:picChg chg="add del mod">
          <ac:chgData name="Eduard Eugenio Duarte Sepulveda" userId="d6757e78-5d77-4033-bc1e-7634d9cd1525" providerId="ADAL" clId="{5DF622DD-7543-4CD8-88CC-75EE5A4EC4CB}" dt="2023-06-04T03:35:49.068" v="2684" actId="478"/>
          <ac:picMkLst>
            <pc:docMk/>
            <pc:sldMk cId="2384151974" sldId="728"/>
            <ac:picMk id="3" creationId="{A0A03753-1599-1C9A-6E20-83C8E19E97B5}"/>
          </ac:picMkLst>
        </pc:picChg>
      </pc:sldChg>
      <pc:sldChg chg="addSp modSp new del">
        <pc:chgData name="Eduard Eugenio Duarte Sepulveda" userId="d6757e78-5d77-4033-bc1e-7634d9cd1525" providerId="ADAL" clId="{5DF622DD-7543-4CD8-88CC-75EE5A4EC4CB}" dt="2023-06-04T04:14:51.327" v="4386" actId="47"/>
        <pc:sldMkLst>
          <pc:docMk/>
          <pc:sldMk cId="3527849884" sldId="729"/>
        </pc:sldMkLst>
        <pc:spChg chg="add 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4" creationId="{5D1379B7-E05D-D0AA-F154-CAF0F9C6327C}"/>
          </ac:spMkLst>
        </pc:spChg>
        <pc:spChg chg="add 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5" creationId="{F760C59C-732C-871D-6DB5-B3608EB0541C}"/>
          </ac:spMkLst>
        </pc:spChg>
        <pc:spChg chg="add 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6" creationId="{226D6E46-D636-1A5C-0A0F-8B861A375594}"/>
          </ac:spMkLst>
        </pc:spChg>
        <pc:spChg chg="add 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7" creationId="{6FE8E85F-E8EB-F127-0D42-66781570F4B5}"/>
          </ac:spMkLst>
        </pc:spChg>
        <pc:spChg chg="add 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8" creationId="{D147CC11-F113-64BD-08AB-6EA029E59159}"/>
          </ac:spMkLst>
        </pc:spChg>
        <pc:spChg chg="add 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9" creationId="{6E46C2D1-3B16-CE76-F52A-D998DB56C39E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13" creationId="{D6895061-D347-F695-8328-CCB1B51CF9AF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14" creationId="{ED865201-F189-5B2C-C999-DB0D7938A109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18" creationId="{12771B9E-165F-647A-F7DD-BEFB974261A1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19" creationId="{F8024D21-A4E3-4B9B-4F30-78E800757022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23" creationId="{5586897E-5DBC-B145-9828-0341B9E1291D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24" creationId="{E1F9248F-E63F-744D-49EF-C136E71CF7AC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28" creationId="{04DB28BD-95B6-8EF4-DB7C-B40A96C19277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29" creationId="{853BE134-1E6B-1FD2-8E75-CDAA469CA2B5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33" creationId="{FE55E952-54C3-CAC4-8E59-6F9EB20D8FAD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34" creationId="{9A5E7AD7-A52A-8578-8304-1C0561FC3214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38" creationId="{6800B9D2-1AE8-8C0C-A5F0-E5AA9A15A101}"/>
          </ac:spMkLst>
        </pc:spChg>
        <pc:spChg chg="mod">
          <ac:chgData name="Eduard Eugenio Duarte Sepulveda" userId="d6757e78-5d77-4033-bc1e-7634d9cd1525" providerId="ADAL" clId="{5DF622DD-7543-4CD8-88CC-75EE5A4EC4CB}" dt="2023-06-03T05:31:28.046" v="326"/>
          <ac:spMkLst>
            <pc:docMk/>
            <pc:sldMk cId="3527849884" sldId="729"/>
            <ac:spMk id="39" creationId="{25D55714-C4B3-01B3-F477-3451910949AD}"/>
          </ac:spMkLst>
        </pc:spChg>
        <pc:grpChg chg="add 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10" creationId="{E1674BC7-6059-93D0-C6A8-377B2033CDBF}"/>
          </ac:grpSpMkLst>
        </pc:grpChg>
        <pc:grpChg chg="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12" creationId="{47164EB5-37D0-7EC1-A161-5E9F9B1EA903}"/>
          </ac:grpSpMkLst>
        </pc:grpChg>
        <pc:grpChg chg="add 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15" creationId="{003A95C9-A7CC-AE14-0DFB-3BA03320FB11}"/>
          </ac:grpSpMkLst>
        </pc:grpChg>
        <pc:grpChg chg="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17" creationId="{A31877E9-91BC-7641-0AD1-FC80ECABD7D8}"/>
          </ac:grpSpMkLst>
        </pc:grpChg>
        <pc:grpChg chg="add 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20" creationId="{233F2FAF-E1FA-390E-9B0A-A81C6CD85E91}"/>
          </ac:grpSpMkLst>
        </pc:grpChg>
        <pc:grpChg chg="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22" creationId="{D390B74E-EEB6-0C07-3A36-120F9402BFDA}"/>
          </ac:grpSpMkLst>
        </pc:grpChg>
        <pc:grpChg chg="add 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25" creationId="{CA0C2E9D-CFB8-CB1E-2792-1C4748D917F5}"/>
          </ac:grpSpMkLst>
        </pc:grpChg>
        <pc:grpChg chg="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27" creationId="{DFFECC2F-3549-EE36-2E22-2BD179971352}"/>
          </ac:grpSpMkLst>
        </pc:grpChg>
        <pc:grpChg chg="add 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30" creationId="{7A79D923-2C32-92CE-66F6-21047555182C}"/>
          </ac:grpSpMkLst>
        </pc:grpChg>
        <pc:grpChg chg="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32" creationId="{468D4F7A-27E5-C876-2366-C59468BFCBDD}"/>
          </ac:grpSpMkLst>
        </pc:grpChg>
        <pc:grpChg chg="add 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35" creationId="{8FABA057-438A-9237-B624-A00425E081E4}"/>
          </ac:grpSpMkLst>
        </pc:grpChg>
        <pc:grpChg chg="mod">
          <ac:chgData name="Eduard Eugenio Duarte Sepulveda" userId="d6757e78-5d77-4033-bc1e-7634d9cd1525" providerId="ADAL" clId="{5DF622DD-7543-4CD8-88CC-75EE5A4EC4CB}" dt="2023-06-03T05:31:28.046" v="326"/>
          <ac:grpSpMkLst>
            <pc:docMk/>
            <pc:sldMk cId="3527849884" sldId="729"/>
            <ac:grpSpMk id="37" creationId="{95D8C9AB-8FF9-B8C0-7463-5BB239425CE3}"/>
          </ac:grpSpMkLst>
        </pc:grpChg>
        <pc:cxnChg chg="mod">
          <ac:chgData name="Eduard Eugenio Duarte Sepulveda" userId="d6757e78-5d77-4033-bc1e-7634d9cd1525" providerId="ADAL" clId="{5DF622DD-7543-4CD8-88CC-75EE5A4EC4CB}" dt="2023-06-03T05:31:28.046" v="326"/>
          <ac:cxnSpMkLst>
            <pc:docMk/>
            <pc:sldMk cId="3527849884" sldId="729"/>
            <ac:cxnSpMk id="11" creationId="{7AE3B0CA-9EBA-5ABF-55E6-5C567E3269CB}"/>
          </ac:cxnSpMkLst>
        </pc:cxnChg>
        <pc:cxnChg chg="mod">
          <ac:chgData name="Eduard Eugenio Duarte Sepulveda" userId="d6757e78-5d77-4033-bc1e-7634d9cd1525" providerId="ADAL" clId="{5DF622DD-7543-4CD8-88CC-75EE5A4EC4CB}" dt="2023-06-03T05:31:28.046" v="326"/>
          <ac:cxnSpMkLst>
            <pc:docMk/>
            <pc:sldMk cId="3527849884" sldId="729"/>
            <ac:cxnSpMk id="16" creationId="{18366BB4-E820-933B-4E24-4457AC618AA6}"/>
          </ac:cxnSpMkLst>
        </pc:cxnChg>
        <pc:cxnChg chg="mod">
          <ac:chgData name="Eduard Eugenio Duarte Sepulveda" userId="d6757e78-5d77-4033-bc1e-7634d9cd1525" providerId="ADAL" clId="{5DF622DD-7543-4CD8-88CC-75EE5A4EC4CB}" dt="2023-06-03T05:31:28.046" v="326"/>
          <ac:cxnSpMkLst>
            <pc:docMk/>
            <pc:sldMk cId="3527849884" sldId="729"/>
            <ac:cxnSpMk id="21" creationId="{4C15E9FD-0A63-8F44-F388-B9CAD41476F7}"/>
          </ac:cxnSpMkLst>
        </pc:cxnChg>
        <pc:cxnChg chg="mod">
          <ac:chgData name="Eduard Eugenio Duarte Sepulveda" userId="d6757e78-5d77-4033-bc1e-7634d9cd1525" providerId="ADAL" clId="{5DF622DD-7543-4CD8-88CC-75EE5A4EC4CB}" dt="2023-06-03T05:31:28.046" v="326"/>
          <ac:cxnSpMkLst>
            <pc:docMk/>
            <pc:sldMk cId="3527849884" sldId="729"/>
            <ac:cxnSpMk id="26" creationId="{8533DA72-A0B0-F293-987C-75F0CD8A5DB5}"/>
          </ac:cxnSpMkLst>
        </pc:cxnChg>
        <pc:cxnChg chg="mod">
          <ac:chgData name="Eduard Eugenio Duarte Sepulveda" userId="d6757e78-5d77-4033-bc1e-7634d9cd1525" providerId="ADAL" clId="{5DF622DD-7543-4CD8-88CC-75EE5A4EC4CB}" dt="2023-06-03T05:31:28.046" v="326"/>
          <ac:cxnSpMkLst>
            <pc:docMk/>
            <pc:sldMk cId="3527849884" sldId="729"/>
            <ac:cxnSpMk id="31" creationId="{DBFAFF24-75DF-CD03-4C6A-85DB0ECA2405}"/>
          </ac:cxnSpMkLst>
        </pc:cxnChg>
        <pc:cxnChg chg="mod">
          <ac:chgData name="Eduard Eugenio Duarte Sepulveda" userId="d6757e78-5d77-4033-bc1e-7634d9cd1525" providerId="ADAL" clId="{5DF622DD-7543-4CD8-88CC-75EE5A4EC4CB}" dt="2023-06-03T05:31:28.046" v="326"/>
          <ac:cxnSpMkLst>
            <pc:docMk/>
            <pc:sldMk cId="3527849884" sldId="729"/>
            <ac:cxnSpMk id="36" creationId="{CB9D8450-BE55-852D-370A-65A04468C371}"/>
          </ac:cxnSpMkLst>
        </pc:cxnChg>
      </pc:sldChg>
      <pc:sldChg chg="addSp delSp modSp add mod">
        <pc:chgData name="Eduard Eugenio Duarte Sepulveda" userId="d6757e78-5d77-4033-bc1e-7634d9cd1525" providerId="ADAL" clId="{5DF622DD-7543-4CD8-88CC-75EE5A4EC4CB}" dt="2023-06-04T04:14:21.856" v="4384" actId="1076"/>
        <pc:sldMkLst>
          <pc:docMk/>
          <pc:sldMk cId="1514492137" sldId="730"/>
        </pc:sldMkLst>
        <pc:spChg chg="mod">
          <ac:chgData name="Eduard Eugenio Duarte Sepulveda" userId="d6757e78-5d77-4033-bc1e-7634d9cd1525" providerId="ADAL" clId="{5DF622DD-7543-4CD8-88CC-75EE5A4EC4CB}" dt="2023-06-03T05:29:01.284" v="321" actId="20577"/>
          <ac:spMkLst>
            <pc:docMk/>
            <pc:sldMk cId="1514492137" sldId="730"/>
            <ac:spMk id="2" creationId="{00000000-0000-0000-0000-000000000000}"/>
          </ac:spMkLst>
        </pc:spChg>
        <pc:spChg chg="add del mod">
          <ac:chgData name="Eduard Eugenio Duarte Sepulveda" userId="d6757e78-5d77-4033-bc1e-7634d9cd1525" providerId="ADAL" clId="{5DF622DD-7543-4CD8-88CC-75EE5A4EC4CB}" dt="2023-06-04T04:10:03.922" v="4327" actId="478"/>
          <ac:spMkLst>
            <pc:docMk/>
            <pc:sldMk cId="1514492137" sldId="730"/>
            <ac:spMk id="6" creationId="{0443E8E3-439E-35C5-56D0-4A3315752F99}"/>
          </ac:spMkLst>
        </pc:spChg>
        <pc:spChg chg="add mod">
          <ac:chgData name="Eduard Eugenio Duarte Sepulveda" userId="d6757e78-5d77-4033-bc1e-7634d9cd1525" providerId="ADAL" clId="{5DF622DD-7543-4CD8-88CC-75EE5A4EC4CB}" dt="2023-06-04T04:13:47.747" v="4380" actId="1076"/>
          <ac:spMkLst>
            <pc:docMk/>
            <pc:sldMk cId="1514492137" sldId="730"/>
            <ac:spMk id="8" creationId="{AEFFAF2B-86B8-567B-EFEF-2C538F9757DA}"/>
          </ac:spMkLst>
        </pc:spChg>
        <pc:spChg chg="add mod">
          <ac:chgData name="Eduard Eugenio Duarte Sepulveda" userId="d6757e78-5d77-4033-bc1e-7634d9cd1525" providerId="ADAL" clId="{5DF622DD-7543-4CD8-88CC-75EE5A4EC4CB}" dt="2023-06-04T04:14:00.383" v="4383" actId="1076"/>
          <ac:spMkLst>
            <pc:docMk/>
            <pc:sldMk cId="1514492137" sldId="730"/>
            <ac:spMk id="11" creationId="{5DED6FE7-03E7-6AE2-2ED7-C252DB3CDD37}"/>
          </ac:spMkLst>
        </pc:spChg>
        <pc:spChg chg="mod">
          <ac:chgData name="Eduard Eugenio Duarte Sepulveda" userId="d6757e78-5d77-4033-bc1e-7634d9cd1525" providerId="ADAL" clId="{5DF622DD-7543-4CD8-88CC-75EE5A4EC4CB}" dt="2023-06-04T04:13:52.970" v="4381" actId="1076"/>
          <ac:spMkLst>
            <pc:docMk/>
            <pc:sldMk cId="1514492137" sldId="730"/>
            <ac:spMk id="60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13:55.381" v="4382" actId="1076"/>
          <ac:spMkLst>
            <pc:docMk/>
            <pc:sldMk cId="1514492137" sldId="730"/>
            <ac:spMk id="61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12:09.962" v="4355" actId="1076"/>
          <ac:spMkLst>
            <pc:docMk/>
            <pc:sldMk cId="1514492137" sldId="730"/>
            <ac:spMk id="63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12:24.714" v="4357" actId="1076"/>
          <ac:spMkLst>
            <pc:docMk/>
            <pc:sldMk cId="1514492137" sldId="730"/>
            <ac:spMk id="65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14:21.856" v="4384" actId="1076"/>
          <ac:spMkLst>
            <pc:docMk/>
            <pc:sldMk cId="1514492137" sldId="730"/>
            <ac:spMk id="67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13:45.221" v="4379" actId="1076"/>
          <ac:spMkLst>
            <pc:docMk/>
            <pc:sldMk cId="1514492137" sldId="730"/>
            <ac:spMk id="113" creationId="{00000000-0000-0000-0000-000000000000}"/>
          </ac:spMkLst>
        </pc:spChg>
        <pc:spChg chg="del mod topLvl">
          <ac:chgData name="Eduard Eugenio Duarte Sepulveda" userId="d6757e78-5d77-4033-bc1e-7634d9cd1525" providerId="ADAL" clId="{5DF622DD-7543-4CD8-88CC-75EE5A4EC4CB}" dt="2023-06-04T04:07:09.215" v="4254" actId="478"/>
          <ac:spMkLst>
            <pc:docMk/>
            <pc:sldMk cId="1514492137" sldId="730"/>
            <ac:spMk id="139" creationId="{00000000-0000-0000-0000-000000000000}"/>
          </ac:spMkLst>
        </pc:spChg>
        <pc:spChg chg="del topLvl">
          <ac:chgData name="Eduard Eugenio Duarte Sepulveda" userId="d6757e78-5d77-4033-bc1e-7634d9cd1525" providerId="ADAL" clId="{5DF622DD-7543-4CD8-88CC-75EE5A4EC4CB}" dt="2023-06-04T04:07:14.844" v="4255" actId="478"/>
          <ac:spMkLst>
            <pc:docMk/>
            <pc:sldMk cId="1514492137" sldId="730"/>
            <ac:spMk id="140" creationId="{00000000-0000-0000-0000-000000000000}"/>
          </ac:spMkLst>
        </pc:spChg>
        <pc:spChg chg="del topLvl">
          <ac:chgData name="Eduard Eugenio Duarte Sepulveda" userId="d6757e78-5d77-4033-bc1e-7634d9cd1525" providerId="ADAL" clId="{5DF622DD-7543-4CD8-88CC-75EE5A4EC4CB}" dt="2023-06-04T04:07:41.260" v="4260" actId="478"/>
          <ac:spMkLst>
            <pc:docMk/>
            <pc:sldMk cId="1514492137" sldId="730"/>
            <ac:spMk id="142" creationId="{00000000-0000-0000-0000-000000000000}"/>
          </ac:spMkLst>
        </pc:spChg>
        <pc:spChg chg="del topLvl">
          <ac:chgData name="Eduard Eugenio Duarte Sepulveda" userId="d6757e78-5d77-4033-bc1e-7634d9cd1525" providerId="ADAL" clId="{5DF622DD-7543-4CD8-88CC-75EE5A4EC4CB}" dt="2023-06-04T04:07:45.205" v="4261" actId="478"/>
          <ac:spMkLst>
            <pc:docMk/>
            <pc:sldMk cId="1514492137" sldId="730"/>
            <ac:spMk id="143" creationId="{00000000-0000-0000-0000-000000000000}"/>
          </ac:spMkLst>
        </pc:spChg>
        <pc:spChg chg="del topLvl">
          <ac:chgData name="Eduard Eugenio Duarte Sepulveda" userId="d6757e78-5d77-4033-bc1e-7634d9cd1525" providerId="ADAL" clId="{5DF622DD-7543-4CD8-88CC-75EE5A4EC4CB}" dt="2023-06-04T04:07:20.827" v="4256" actId="478"/>
          <ac:spMkLst>
            <pc:docMk/>
            <pc:sldMk cId="1514492137" sldId="730"/>
            <ac:spMk id="148" creationId="{00000000-0000-0000-0000-000000000000}"/>
          </ac:spMkLst>
        </pc:spChg>
        <pc:spChg chg="del topLvl">
          <ac:chgData name="Eduard Eugenio Duarte Sepulveda" userId="d6757e78-5d77-4033-bc1e-7634d9cd1525" providerId="ADAL" clId="{5DF622DD-7543-4CD8-88CC-75EE5A4EC4CB}" dt="2023-06-04T04:07:24.832" v="4257" actId="478"/>
          <ac:spMkLst>
            <pc:docMk/>
            <pc:sldMk cId="1514492137" sldId="730"/>
            <ac:spMk id="149" creationId="{00000000-0000-0000-0000-000000000000}"/>
          </ac:spMkLst>
        </pc:spChg>
        <pc:spChg chg="del topLvl">
          <ac:chgData name="Eduard Eugenio Duarte Sepulveda" userId="d6757e78-5d77-4033-bc1e-7634d9cd1525" providerId="ADAL" clId="{5DF622DD-7543-4CD8-88CC-75EE5A4EC4CB}" dt="2023-06-04T04:07:30.442" v="4258" actId="478"/>
          <ac:spMkLst>
            <pc:docMk/>
            <pc:sldMk cId="1514492137" sldId="730"/>
            <ac:spMk id="151" creationId="{00000000-0000-0000-0000-000000000000}"/>
          </ac:spMkLst>
        </pc:spChg>
        <pc:spChg chg="del topLvl">
          <ac:chgData name="Eduard Eugenio Duarte Sepulveda" userId="d6757e78-5d77-4033-bc1e-7634d9cd1525" providerId="ADAL" clId="{5DF622DD-7543-4CD8-88CC-75EE5A4EC4CB}" dt="2023-06-04T04:07:34.360" v="4259" actId="478"/>
          <ac:spMkLst>
            <pc:docMk/>
            <pc:sldMk cId="1514492137" sldId="730"/>
            <ac:spMk id="152" creationId="{00000000-0000-0000-0000-000000000000}"/>
          </ac:spMkLst>
        </pc:spChg>
        <pc:grpChg chg="del">
          <ac:chgData name="Eduard Eugenio Duarte Sepulveda" userId="d6757e78-5d77-4033-bc1e-7634d9cd1525" providerId="ADAL" clId="{5DF622DD-7543-4CD8-88CC-75EE5A4EC4CB}" dt="2023-06-04T04:07:09.215" v="4254" actId="478"/>
          <ac:grpSpMkLst>
            <pc:docMk/>
            <pc:sldMk cId="1514492137" sldId="730"/>
            <ac:grpSpMk id="138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7:41.260" v="4260" actId="478"/>
          <ac:grpSpMkLst>
            <pc:docMk/>
            <pc:sldMk cId="1514492137" sldId="730"/>
            <ac:grpSpMk id="141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7:04.651" v="4252" actId="478"/>
          <ac:grpSpMkLst>
            <pc:docMk/>
            <pc:sldMk cId="1514492137" sldId="730"/>
            <ac:grpSpMk id="144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7:20.827" v="4256" actId="478"/>
          <ac:grpSpMkLst>
            <pc:docMk/>
            <pc:sldMk cId="1514492137" sldId="730"/>
            <ac:grpSpMk id="147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7:30.442" v="4258" actId="478"/>
          <ac:grpSpMkLst>
            <pc:docMk/>
            <pc:sldMk cId="1514492137" sldId="730"/>
            <ac:grpSpMk id="150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6:56.816" v="4250" actId="478"/>
          <ac:grpSpMkLst>
            <pc:docMk/>
            <pc:sldMk cId="1514492137" sldId="730"/>
            <ac:grpSpMk id="153" creationId="{00000000-0000-0000-0000-000000000000}"/>
          </ac:grpSpMkLst>
        </pc:grpChg>
        <pc:cxnChg chg="add mod">
          <ac:chgData name="Eduard Eugenio Duarte Sepulveda" userId="d6757e78-5d77-4033-bc1e-7634d9cd1525" providerId="ADAL" clId="{5DF622DD-7543-4CD8-88CC-75EE5A4EC4CB}" dt="2023-06-04T04:14:21.856" v="4384" actId="1076"/>
          <ac:cxnSpMkLst>
            <pc:docMk/>
            <pc:sldMk cId="1514492137" sldId="730"/>
            <ac:cxnSpMk id="5" creationId="{08321F20-F7AE-81DD-9CCD-34C06C0CE000}"/>
          </ac:cxnSpMkLst>
        </pc:cxnChg>
        <pc:cxnChg chg="del">
          <ac:chgData name="Eduard Eugenio Duarte Sepulveda" userId="d6757e78-5d77-4033-bc1e-7634d9cd1525" providerId="ADAL" clId="{5DF622DD-7543-4CD8-88CC-75EE5A4EC4CB}" dt="2023-06-04T04:06:59.034" v="4251" actId="478"/>
          <ac:cxnSpMkLst>
            <pc:docMk/>
            <pc:sldMk cId="1514492137" sldId="730"/>
            <ac:cxnSpMk id="10" creationId="{00000000-0000-0000-0000-000000000000}"/>
          </ac:cxnSpMkLst>
        </pc:cxnChg>
        <pc:cxnChg chg="del">
          <ac:chgData name="Eduard Eugenio Duarte Sepulveda" userId="d6757e78-5d77-4033-bc1e-7634d9cd1525" providerId="ADAL" clId="{5DF622DD-7543-4CD8-88CC-75EE5A4EC4CB}" dt="2023-06-04T04:06:50.464" v="4249" actId="478"/>
          <ac:cxnSpMkLst>
            <pc:docMk/>
            <pc:sldMk cId="1514492137" sldId="730"/>
            <ac:cxnSpMk id="12" creationId="{00000000-0000-0000-0000-000000000000}"/>
          </ac:cxnSpMkLst>
        </pc:cxnChg>
        <pc:cxnChg chg="add mod">
          <ac:chgData name="Eduard Eugenio Duarte Sepulveda" userId="d6757e78-5d77-4033-bc1e-7634d9cd1525" providerId="ADAL" clId="{5DF622DD-7543-4CD8-88CC-75EE5A4EC4CB}" dt="2023-06-04T04:13:47.747" v="4380" actId="1076"/>
          <ac:cxnSpMkLst>
            <pc:docMk/>
            <pc:sldMk cId="1514492137" sldId="730"/>
            <ac:cxnSpMk id="13" creationId="{4EEEF4CC-5FD3-A9BF-57E9-F2C612728CEB}"/>
          </ac:cxnSpMkLst>
        </pc:cxnChg>
        <pc:cxnChg chg="mod">
          <ac:chgData name="Eduard Eugenio Duarte Sepulveda" userId="d6757e78-5d77-4033-bc1e-7634d9cd1525" providerId="ADAL" clId="{5DF622DD-7543-4CD8-88CC-75EE5A4EC4CB}" dt="2023-06-04T04:13:55.381" v="4382" actId="1076"/>
          <ac:cxnSpMkLst>
            <pc:docMk/>
            <pc:sldMk cId="1514492137" sldId="730"/>
            <ac:cxnSpMk id="14" creationId="{00000000-0000-0000-0000-000000000000}"/>
          </ac:cxnSpMkLst>
        </pc:cxnChg>
        <pc:cxnChg chg="add mod">
          <ac:chgData name="Eduard Eugenio Duarte Sepulveda" userId="d6757e78-5d77-4033-bc1e-7634d9cd1525" providerId="ADAL" clId="{5DF622DD-7543-4CD8-88CC-75EE5A4EC4CB}" dt="2023-06-04T04:14:21.856" v="4384" actId="1076"/>
          <ac:cxnSpMkLst>
            <pc:docMk/>
            <pc:sldMk cId="1514492137" sldId="730"/>
            <ac:cxnSpMk id="15" creationId="{CDBCC54A-A36C-BCAD-8DD9-DA1D437216BA}"/>
          </ac:cxnSpMkLst>
        </pc:cxnChg>
        <pc:cxnChg chg="del">
          <ac:chgData name="Eduard Eugenio Duarte Sepulveda" userId="d6757e78-5d77-4033-bc1e-7634d9cd1525" providerId="ADAL" clId="{5DF622DD-7543-4CD8-88CC-75EE5A4EC4CB}" dt="2023-06-04T04:07:49.499" v="4262" actId="478"/>
          <ac:cxnSpMkLst>
            <pc:docMk/>
            <pc:sldMk cId="1514492137" sldId="730"/>
            <ac:cxnSpMk id="16" creationId="{00000000-0000-0000-0000-000000000000}"/>
          </ac:cxnSpMkLst>
        </pc:cxnChg>
        <pc:cxnChg chg="mod">
          <ac:chgData name="Eduard Eugenio Duarte Sepulveda" userId="d6757e78-5d77-4033-bc1e-7634d9cd1525" providerId="ADAL" clId="{5DF622DD-7543-4CD8-88CC-75EE5A4EC4CB}" dt="2023-06-04T04:13:45.221" v="4379" actId="1076"/>
          <ac:cxnSpMkLst>
            <pc:docMk/>
            <pc:sldMk cId="1514492137" sldId="730"/>
            <ac:cxnSpMk id="18" creationId="{00000000-0000-0000-0000-000000000000}"/>
          </ac:cxnSpMkLst>
        </pc:cxnChg>
        <pc:cxnChg chg="add mod">
          <ac:chgData name="Eduard Eugenio Duarte Sepulveda" userId="d6757e78-5d77-4033-bc1e-7634d9cd1525" providerId="ADAL" clId="{5DF622DD-7543-4CD8-88CC-75EE5A4EC4CB}" dt="2023-06-04T04:14:00.383" v="4383" actId="1076"/>
          <ac:cxnSpMkLst>
            <pc:docMk/>
            <pc:sldMk cId="1514492137" sldId="730"/>
            <ac:cxnSpMk id="27" creationId="{E7693AFC-6CD7-A8FE-16F9-303003EA2EE9}"/>
          </ac:cxnSpMkLst>
        </pc:cxnChg>
        <pc:cxnChg chg="add mod">
          <ac:chgData name="Eduard Eugenio Duarte Sepulveda" userId="d6757e78-5d77-4033-bc1e-7634d9cd1525" providerId="ADAL" clId="{5DF622DD-7543-4CD8-88CC-75EE5A4EC4CB}" dt="2023-06-04T04:14:00.383" v="4383" actId="1076"/>
          <ac:cxnSpMkLst>
            <pc:docMk/>
            <pc:sldMk cId="1514492137" sldId="730"/>
            <ac:cxnSpMk id="28" creationId="{F4E6003B-A741-1A52-A14F-C9AE52A6741C}"/>
          </ac:cxnSpMkLst>
        </pc:cxnChg>
        <pc:cxnChg chg="add mod">
          <ac:chgData name="Eduard Eugenio Duarte Sepulveda" userId="d6757e78-5d77-4033-bc1e-7634d9cd1525" providerId="ADAL" clId="{5DF622DD-7543-4CD8-88CC-75EE5A4EC4CB}" dt="2023-06-04T04:13:52.970" v="4381" actId="1076"/>
          <ac:cxnSpMkLst>
            <pc:docMk/>
            <pc:sldMk cId="1514492137" sldId="730"/>
            <ac:cxnSpMk id="35" creationId="{037CF534-62AB-3410-4C26-1C9B833F7FDA}"/>
          </ac:cxnSpMkLst>
        </pc:cxnChg>
      </pc:sldChg>
      <pc:sldChg chg="addSp delSp modSp add del mod">
        <pc:chgData name="Eduard Eugenio Duarte Sepulveda" userId="d6757e78-5d77-4033-bc1e-7634d9cd1525" providerId="ADAL" clId="{5DF622DD-7543-4CD8-88CC-75EE5A4EC4CB}" dt="2023-06-04T04:14:48.209" v="4385" actId="47"/>
        <pc:sldMkLst>
          <pc:docMk/>
          <pc:sldMk cId="3995397088" sldId="731"/>
        </pc:sldMkLst>
        <pc:spChg chg="del">
          <ac:chgData name="Eduard Eugenio Duarte Sepulveda" userId="d6757e78-5d77-4033-bc1e-7634d9cd1525" providerId="ADAL" clId="{5DF622DD-7543-4CD8-88CC-75EE5A4EC4CB}" dt="2023-06-03T05:32:33.657" v="339" actId="478"/>
          <ac:spMkLst>
            <pc:docMk/>
            <pc:sldMk cId="3995397088" sldId="731"/>
            <ac:spMk id="2" creationId="{7DE6D9A4-F3D3-B66F-BCB7-2385E61BED9B}"/>
          </ac:spMkLst>
        </pc:spChg>
        <pc:spChg chg="del">
          <ac:chgData name="Eduard Eugenio Duarte Sepulveda" userId="d6757e78-5d77-4033-bc1e-7634d9cd1525" providerId="ADAL" clId="{5DF622DD-7543-4CD8-88CC-75EE5A4EC4CB}" dt="2023-06-03T05:32:38.135" v="340" actId="478"/>
          <ac:spMkLst>
            <pc:docMk/>
            <pc:sldMk cId="3995397088" sldId="731"/>
            <ac:spMk id="3" creationId="{B8C96ED2-633B-A2AB-2228-705DABA6A137}"/>
          </ac:spMkLst>
        </pc:spChg>
        <pc:spChg chg="mod">
          <ac:chgData name="Eduard Eugenio Duarte Sepulveda" userId="d6757e78-5d77-4033-bc1e-7634d9cd1525" providerId="ADAL" clId="{5DF622DD-7543-4CD8-88CC-75EE5A4EC4CB}" dt="2023-06-03T05:51:35.529" v="1413" actId="1076"/>
          <ac:spMkLst>
            <pc:docMk/>
            <pc:sldMk cId="3995397088" sldId="731"/>
            <ac:spMk id="4" creationId="{5D1379B7-E05D-D0AA-F154-CAF0F9C6327C}"/>
          </ac:spMkLst>
        </pc:spChg>
        <pc:spChg chg="mod">
          <ac:chgData name="Eduard Eugenio Duarte Sepulveda" userId="d6757e78-5d77-4033-bc1e-7634d9cd1525" providerId="ADAL" clId="{5DF622DD-7543-4CD8-88CC-75EE5A4EC4CB}" dt="2023-06-03T05:51:35.529" v="1413" actId="1076"/>
          <ac:spMkLst>
            <pc:docMk/>
            <pc:sldMk cId="3995397088" sldId="731"/>
            <ac:spMk id="5" creationId="{F760C59C-732C-871D-6DB5-B3608EB0541C}"/>
          </ac:spMkLst>
        </pc:spChg>
        <pc:spChg chg="mod">
          <ac:chgData name="Eduard Eugenio Duarte Sepulveda" userId="d6757e78-5d77-4033-bc1e-7634d9cd1525" providerId="ADAL" clId="{5DF622DD-7543-4CD8-88CC-75EE5A4EC4CB}" dt="2023-06-03T05:51:35.529" v="1413" actId="1076"/>
          <ac:spMkLst>
            <pc:docMk/>
            <pc:sldMk cId="3995397088" sldId="731"/>
            <ac:spMk id="6" creationId="{226D6E46-D636-1A5C-0A0F-8B861A375594}"/>
          </ac:spMkLst>
        </pc:spChg>
        <pc:spChg chg="mod">
          <ac:chgData name="Eduard Eugenio Duarte Sepulveda" userId="d6757e78-5d77-4033-bc1e-7634d9cd1525" providerId="ADAL" clId="{5DF622DD-7543-4CD8-88CC-75EE5A4EC4CB}" dt="2023-06-03T05:51:35.529" v="1413" actId="1076"/>
          <ac:spMkLst>
            <pc:docMk/>
            <pc:sldMk cId="3995397088" sldId="731"/>
            <ac:spMk id="7" creationId="{6FE8E85F-E8EB-F127-0D42-66781570F4B5}"/>
          </ac:spMkLst>
        </pc:spChg>
        <pc:spChg chg="mod">
          <ac:chgData name="Eduard Eugenio Duarte Sepulveda" userId="d6757e78-5d77-4033-bc1e-7634d9cd1525" providerId="ADAL" clId="{5DF622DD-7543-4CD8-88CC-75EE5A4EC4CB}" dt="2023-06-03T05:51:35.529" v="1413" actId="1076"/>
          <ac:spMkLst>
            <pc:docMk/>
            <pc:sldMk cId="3995397088" sldId="731"/>
            <ac:spMk id="8" creationId="{D147CC11-F113-64BD-08AB-6EA029E59159}"/>
          </ac:spMkLst>
        </pc:spChg>
        <pc:spChg chg="mod">
          <ac:chgData name="Eduard Eugenio Duarte Sepulveda" userId="d6757e78-5d77-4033-bc1e-7634d9cd1525" providerId="ADAL" clId="{5DF622DD-7543-4CD8-88CC-75EE5A4EC4CB}" dt="2023-06-03T05:51:35.529" v="1413" actId="1076"/>
          <ac:spMkLst>
            <pc:docMk/>
            <pc:sldMk cId="3995397088" sldId="731"/>
            <ac:spMk id="9" creationId="{6E46C2D1-3B16-CE76-F52A-D998DB56C39E}"/>
          </ac:spMkLst>
        </pc:spChg>
        <pc:spChg chg="del topLvl">
          <ac:chgData name="Eduard Eugenio Duarte Sepulveda" userId="d6757e78-5d77-4033-bc1e-7634d9cd1525" providerId="ADAL" clId="{5DF622DD-7543-4CD8-88CC-75EE5A4EC4CB}" dt="2023-06-03T05:31:49.692" v="330" actId="478"/>
          <ac:spMkLst>
            <pc:docMk/>
            <pc:sldMk cId="3995397088" sldId="731"/>
            <ac:spMk id="38" creationId="{6800B9D2-1AE8-8C0C-A5F0-E5AA9A15A101}"/>
          </ac:spMkLst>
        </pc:spChg>
        <pc:spChg chg="del mod">
          <ac:chgData name="Eduard Eugenio Duarte Sepulveda" userId="d6757e78-5d77-4033-bc1e-7634d9cd1525" providerId="ADAL" clId="{5DF622DD-7543-4CD8-88CC-75EE5A4EC4CB}" dt="2023-06-03T05:31:45.359" v="329" actId="478"/>
          <ac:spMkLst>
            <pc:docMk/>
            <pc:sldMk cId="3995397088" sldId="731"/>
            <ac:spMk id="39" creationId="{25D55714-C4B3-01B3-F477-3451910949AD}"/>
          </ac:spMkLst>
        </pc:spChg>
        <pc:spChg chg="add mod">
          <ac:chgData name="Eduard Eugenio Duarte Sepulveda" userId="d6757e78-5d77-4033-bc1e-7634d9cd1525" providerId="ADAL" clId="{5DF622DD-7543-4CD8-88CC-75EE5A4EC4CB}" dt="2023-06-03T05:52:07.165" v="1417" actId="1076"/>
          <ac:spMkLst>
            <pc:docMk/>
            <pc:sldMk cId="3995397088" sldId="731"/>
            <ac:spMk id="40" creationId="{BB9BA35B-0191-2285-8D9A-AAB20328C039}"/>
          </ac:spMkLst>
        </pc:spChg>
        <pc:spChg chg="add mod">
          <ac:chgData name="Eduard Eugenio Duarte Sepulveda" userId="d6757e78-5d77-4033-bc1e-7634d9cd1525" providerId="ADAL" clId="{5DF622DD-7543-4CD8-88CC-75EE5A4EC4CB}" dt="2023-06-03T05:52:07.165" v="1417" actId="1076"/>
          <ac:spMkLst>
            <pc:docMk/>
            <pc:sldMk cId="3995397088" sldId="731"/>
            <ac:spMk id="41" creationId="{0D5985AE-CEF7-243A-8273-92BB184CB908}"/>
          </ac:spMkLst>
        </pc:spChg>
        <pc:spChg chg="add mod">
          <ac:chgData name="Eduard Eugenio Duarte Sepulveda" userId="d6757e78-5d77-4033-bc1e-7634d9cd1525" providerId="ADAL" clId="{5DF622DD-7543-4CD8-88CC-75EE5A4EC4CB}" dt="2023-06-03T05:52:07.165" v="1417" actId="1076"/>
          <ac:spMkLst>
            <pc:docMk/>
            <pc:sldMk cId="3995397088" sldId="731"/>
            <ac:spMk id="42" creationId="{A615D9A5-435F-2B5E-81F1-480AF8FA5340}"/>
          </ac:spMkLst>
        </pc:spChg>
        <pc:spChg chg="add mod">
          <ac:chgData name="Eduard Eugenio Duarte Sepulveda" userId="d6757e78-5d77-4033-bc1e-7634d9cd1525" providerId="ADAL" clId="{5DF622DD-7543-4CD8-88CC-75EE5A4EC4CB}" dt="2023-06-03T05:52:07.165" v="1417" actId="1076"/>
          <ac:spMkLst>
            <pc:docMk/>
            <pc:sldMk cId="3995397088" sldId="731"/>
            <ac:spMk id="43" creationId="{C7B5A083-3E4F-44C1-6FC6-26C87D50B1BB}"/>
          </ac:spMkLst>
        </pc:spChg>
        <pc:spChg chg="add mod">
          <ac:chgData name="Eduard Eugenio Duarte Sepulveda" userId="d6757e78-5d77-4033-bc1e-7634d9cd1525" providerId="ADAL" clId="{5DF622DD-7543-4CD8-88CC-75EE5A4EC4CB}" dt="2023-06-03T05:52:07.165" v="1417" actId="1076"/>
          <ac:spMkLst>
            <pc:docMk/>
            <pc:sldMk cId="3995397088" sldId="731"/>
            <ac:spMk id="44" creationId="{8C05F643-2172-E306-78C9-74B5E39BCF2E}"/>
          </ac:spMkLst>
        </pc:spChg>
        <pc:grpChg chg="del">
          <ac:chgData name="Eduard Eugenio Duarte Sepulveda" userId="d6757e78-5d77-4033-bc1e-7634d9cd1525" providerId="ADAL" clId="{5DF622DD-7543-4CD8-88CC-75EE5A4EC4CB}" dt="2023-06-03T05:32:03.752" v="336" actId="478"/>
          <ac:grpSpMkLst>
            <pc:docMk/>
            <pc:sldMk cId="3995397088" sldId="731"/>
            <ac:grpSpMk id="10" creationId="{E1674BC7-6059-93D0-C6A8-377B2033CDBF}"/>
          </ac:grpSpMkLst>
        </pc:grpChg>
        <pc:grpChg chg="del">
          <ac:chgData name="Eduard Eugenio Duarte Sepulveda" userId="d6757e78-5d77-4033-bc1e-7634d9cd1525" providerId="ADAL" clId="{5DF622DD-7543-4CD8-88CC-75EE5A4EC4CB}" dt="2023-06-03T05:32:08.537" v="337" actId="478"/>
          <ac:grpSpMkLst>
            <pc:docMk/>
            <pc:sldMk cId="3995397088" sldId="731"/>
            <ac:grpSpMk id="15" creationId="{003A95C9-A7CC-AE14-0DFB-3BA03320FB11}"/>
          </ac:grpSpMkLst>
        </pc:grpChg>
        <pc:grpChg chg="del">
          <ac:chgData name="Eduard Eugenio Duarte Sepulveda" userId="d6757e78-5d77-4033-bc1e-7634d9cd1525" providerId="ADAL" clId="{5DF622DD-7543-4CD8-88CC-75EE5A4EC4CB}" dt="2023-06-03T05:32:11.148" v="338" actId="478"/>
          <ac:grpSpMkLst>
            <pc:docMk/>
            <pc:sldMk cId="3995397088" sldId="731"/>
            <ac:grpSpMk id="20" creationId="{233F2FAF-E1FA-390E-9B0A-A81C6CD85E91}"/>
          </ac:grpSpMkLst>
        </pc:grpChg>
        <pc:grpChg chg="del mod">
          <ac:chgData name="Eduard Eugenio Duarte Sepulveda" userId="d6757e78-5d77-4033-bc1e-7634d9cd1525" providerId="ADAL" clId="{5DF622DD-7543-4CD8-88CC-75EE5A4EC4CB}" dt="2023-06-03T05:32:01.214" v="335" actId="478"/>
          <ac:grpSpMkLst>
            <pc:docMk/>
            <pc:sldMk cId="3995397088" sldId="731"/>
            <ac:grpSpMk id="25" creationId="{CA0C2E9D-CFB8-CB1E-2792-1C4748D917F5}"/>
          </ac:grpSpMkLst>
        </pc:grpChg>
        <pc:grpChg chg="del mod">
          <ac:chgData name="Eduard Eugenio Duarte Sepulveda" userId="d6757e78-5d77-4033-bc1e-7634d9cd1525" providerId="ADAL" clId="{5DF622DD-7543-4CD8-88CC-75EE5A4EC4CB}" dt="2023-06-03T05:31:57.582" v="333" actId="478"/>
          <ac:grpSpMkLst>
            <pc:docMk/>
            <pc:sldMk cId="3995397088" sldId="731"/>
            <ac:grpSpMk id="30" creationId="{7A79D923-2C32-92CE-66F6-21047555182C}"/>
          </ac:grpSpMkLst>
        </pc:grpChg>
        <pc:grpChg chg="del">
          <ac:chgData name="Eduard Eugenio Duarte Sepulveda" userId="d6757e78-5d77-4033-bc1e-7634d9cd1525" providerId="ADAL" clId="{5DF622DD-7543-4CD8-88CC-75EE5A4EC4CB}" dt="2023-06-03T05:31:49.692" v="330" actId="478"/>
          <ac:grpSpMkLst>
            <pc:docMk/>
            <pc:sldMk cId="3995397088" sldId="731"/>
            <ac:grpSpMk id="35" creationId="{8FABA057-438A-9237-B624-A00425E081E4}"/>
          </ac:grpSpMkLst>
        </pc:grpChg>
        <pc:grpChg chg="del">
          <ac:chgData name="Eduard Eugenio Duarte Sepulveda" userId="d6757e78-5d77-4033-bc1e-7634d9cd1525" providerId="ADAL" clId="{5DF622DD-7543-4CD8-88CC-75EE5A4EC4CB}" dt="2023-06-03T05:31:45.359" v="329" actId="478"/>
          <ac:grpSpMkLst>
            <pc:docMk/>
            <pc:sldMk cId="3995397088" sldId="731"/>
            <ac:grpSpMk id="37" creationId="{95D8C9AB-8FF9-B8C0-7463-5BB239425CE3}"/>
          </ac:grpSpMkLst>
        </pc:grpChg>
        <pc:cxnChg chg="del topLvl">
          <ac:chgData name="Eduard Eugenio Duarte Sepulveda" userId="d6757e78-5d77-4033-bc1e-7634d9cd1525" providerId="ADAL" clId="{5DF622DD-7543-4CD8-88CC-75EE5A4EC4CB}" dt="2023-06-03T05:31:53.931" v="331" actId="478"/>
          <ac:cxnSpMkLst>
            <pc:docMk/>
            <pc:sldMk cId="3995397088" sldId="731"/>
            <ac:cxnSpMk id="36" creationId="{CB9D8450-BE55-852D-370A-65A04468C371}"/>
          </ac:cxnSpMkLst>
        </pc:cxnChg>
      </pc:sldChg>
      <pc:sldChg chg="addSp delSp modSp add mod">
        <pc:chgData name="Eduard Eugenio Duarte Sepulveda" userId="d6757e78-5d77-4033-bc1e-7634d9cd1525" providerId="ADAL" clId="{5DF622DD-7543-4CD8-88CC-75EE5A4EC4CB}" dt="2023-06-04T04:56:26.527" v="5274" actId="1076"/>
        <pc:sldMkLst>
          <pc:docMk/>
          <pc:sldMk cId="2901785778" sldId="732"/>
        </pc:sldMkLst>
        <pc:spChg chg="mod">
          <ac:chgData name="Eduard Eugenio Duarte Sepulveda" userId="d6757e78-5d77-4033-bc1e-7634d9cd1525" providerId="ADAL" clId="{5DF622DD-7543-4CD8-88CC-75EE5A4EC4CB}" dt="2023-06-04T04:21:11.272" v="4413" actId="20577"/>
          <ac:spMkLst>
            <pc:docMk/>
            <pc:sldMk cId="2901785778" sldId="732"/>
            <ac:spMk id="2" creationId="{00000000-0000-0000-0000-000000000000}"/>
          </ac:spMkLst>
        </pc:spChg>
        <pc:spChg chg="add del mod">
          <ac:chgData name="Eduard Eugenio Duarte Sepulveda" userId="d6757e78-5d77-4033-bc1e-7634d9cd1525" providerId="ADAL" clId="{5DF622DD-7543-4CD8-88CC-75EE5A4EC4CB}" dt="2023-06-04T04:42:23.436" v="4959" actId="478"/>
          <ac:spMkLst>
            <pc:docMk/>
            <pc:sldMk cId="2901785778" sldId="732"/>
            <ac:spMk id="3" creationId="{6E485174-D231-DDF4-E420-489CBA97B7D1}"/>
          </ac:spMkLst>
        </pc:spChg>
        <pc:spChg chg="add del mod">
          <ac:chgData name="Eduard Eugenio Duarte Sepulveda" userId="d6757e78-5d77-4033-bc1e-7634d9cd1525" providerId="ADAL" clId="{5DF622DD-7543-4CD8-88CC-75EE5A4EC4CB}" dt="2023-06-04T04:42:26.243" v="4960" actId="478"/>
          <ac:spMkLst>
            <pc:docMk/>
            <pc:sldMk cId="2901785778" sldId="732"/>
            <ac:spMk id="4" creationId="{23BA2C35-8F5D-A665-52F7-EB2F7C25E268}"/>
          </ac:spMkLst>
        </pc:spChg>
        <pc:spChg chg="add del mod">
          <ac:chgData name="Eduard Eugenio Duarte Sepulveda" userId="d6757e78-5d77-4033-bc1e-7634d9cd1525" providerId="ADAL" clId="{5DF622DD-7543-4CD8-88CC-75EE5A4EC4CB}" dt="2023-06-04T04:42:19.910" v="4958" actId="478"/>
          <ac:spMkLst>
            <pc:docMk/>
            <pc:sldMk cId="2901785778" sldId="732"/>
            <ac:spMk id="5" creationId="{B4DA0BC2-2ED4-2401-1814-E5BF337E951E}"/>
          </ac:spMkLst>
        </pc:spChg>
        <pc:spChg chg="add del mod">
          <ac:chgData name="Eduard Eugenio Duarte Sepulveda" userId="d6757e78-5d77-4033-bc1e-7634d9cd1525" providerId="ADAL" clId="{5DF622DD-7543-4CD8-88CC-75EE5A4EC4CB}" dt="2023-06-04T04:36:16.449" v="4750" actId="478"/>
          <ac:spMkLst>
            <pc:docMk/>
            <pc:sldMk cId="2901785778" sldId="732"/>
            <ac:spMk id="6" creationId="{D7BB98E8-447A-5855-8038-1D5EEACFDC30}"/>
          </ac:spMkLst>
        </pc:spChg>
        <pc:spChg chg="add del mod">
          <ac:chgData name="Eduard Eugenio Duarte Sepulveda" userId="d6757e78-5d77-4033-bc1e-7634d9cd1525" providerId="ADAL" clId="{5DF622DD-7543-4CD8-88CC-75EE5A4EC4CB}" dt="2023-06-04T04:23:33.426" v="4441" actId="478"/>
          <ac:spMkLst>
            <pc:docMk/>
            <pc:sldMk cId="2901785778" sldId="732"/>
            <ac:spMk id="7" creationId="{A5ACC371-44F2-27BD-11D2-970B78B7C7C5}"/>
          </ac:spMkLst>
        </pc:spChg>
        <pc:spChg chg="add del mod">
          <ac:chgData name="Eduard Eugenio Duarte Sepulveda" userId="d6757e78-5d77-4033-bc1e-7634d9cd1525" providerId="ADAL" clId="{5DF622DD-7543-4CD8-88CC-75EE5A4EC4CB}" dt="2023-06-04T04:25:18.520" v="4453" actId="478"/>
          <ac:spMkLst>
            <pc:docMk/>
            <pc:sldMk cId="2901785778" sldId="732"/>
            <ac:spMk id="8" creationId="{0A6B45B3-E022-0424-EE93-BD4B1D076A4E}"/>
          </ac:spMkLst>
        </pc:spChg>
        <pc:spChg chg="add del mod">
          <ac:chgData name="Eduard Eugenio Duarte Sepulveda" userId="d6757e78-5d77-4033-bc1e-7634d9cd1525" providerId="ADAL" clId="{5DF622DD-7543-4CD8-88CC-75EE5A4EC4CB}" dt="2023-06-04T04:42:30.631" v="4962" actId="478"/>
          <ac:spMkLst>
            <pc:docMk/>
            <pc:sldMk cId="2901785778" sldId="732"/>
            <ac:spMk id="11" creationId="{65925474-F7C8-ED71-A901-5C06B57D8F50}"/>
          </ac:spMkLst>
        </pc:spChg>
        <pc:spChg chg="add del mod">
          <ac:chgData name="Eduard Eugenio Duarte Sepulveda" userId="d6757e78-5d77-4033-bc1e-7634d9cd1525" providerId="ADAL" clId="{5DF622DD-7543-4CD8-88CC-75EE5A4EC4CB}" dt="2023-06-04T04:42:28.358" v="4961" actId="478"/>
          <ac:spMkLst>
            <pc:docMk/>
            <pc:sldMk cId="2901785778" sldId="732"/>
            <ac:spMk id="13" creationId="{48069D24-99C4-ADCB-E256-D6928D56A951}"/>
          </ac:spMkLst>
        </pc:spChg>
        <pc:spChg chg="add del mod">
          <ac:chgData name="Eduard Eugenio Duarte Sepulveda" userId="d6757e78-5d77-4033-bc1e-7634d9cd1525" providerId="ADAL" clId="{5DF622DD-7543-4CD8-88CC-75EE5A4EC4CB}" dt="2023-06-04T04:27:55.508" v="4586" actId="478"/>
          <ac:spMkLst>
            <pc:docMk/>
            <pc:sldMk cId="2901785778" sldId="732"/>
            <ac:spMk id="15" creationId="{7BAF8553-BF14-181C-C1B8-41B2442390D3}"/>
          </ac:spMkLst>
        </pc:spChg>
        <pc:spChg chg="add del mod">
          <ac:chgData name="Eduard Eugenio Duarte Sepulveda" userId="d6757e78-5d77-4033-bc1e-7634d9cd1525" providerId="ADAL" clId="{5DF622DD-7543-4CD8-88CC-75EE5A4EC4CB}" dt="2023-06-04T04:32:25.451" v="4662" actId="12084"/>
          <ac:spMkLst>
            <pc:docMk/>
            <pc:sldMk cId="2901785778" sldId="732"/>
            <ac:spMk id="17" creationId="{5B9739E9-BE18-89CD-AE97-F0EFD92445DE}"/>
          </ac:spMkLst>
        </pc:spChg>
        <pc:spChg chg="mod">
          <ac:chgData name="Eduard Eugenio Duarte Sepulveda" userId="d6757e78-5d77-4033-bc1e-7634d9cd1525" providerId="ADAL" clId="{5DF622DD-7543-4CD8-88CC-75EE5A4EC4CB}" dt="2023-06-04T04:21:51.242" v="4438" actId="790"/>
          <ac:spMkLst>
            <pc:docMk/>
            <pc:sldMk cId="2901785778" sldId="732"/>
            <ac:spMk id="19" creationId="{00000000-0000-0000-0000-000000000000}"/>
          </ac:spMkLst>
        </pc:spChg>
        <pc:spChg chg="add del mod">
          <ac:chgData name="Eduard Eugenio Duarte Sepulveda" userId="d6757e78-5d77-4033-bc1e-7634d9cd1525" providerId="ADAL" clId="{5DF622DD-7543-4CD8-88CC-75EE5A4EC4CB}" dt="2023-06-04T04:37:46.164" v="4766" actId="12084"/>
          <ac:spMkLst>
            <pc:docMk/>
            <pc:sldMk cId="2901785778" sldId="732"/>
            <ac:spMk id="20" creationId="{988FCE77-FEB9-2422-E596-D3306E4B883E}"/>
          </ac:spMkLst>
        </pc:spChg>
        <pc:spChg chg="add del mod">
          <ac:chgData name="Eduard Eugenio Duarte Sepulveda" userId="d6757e78-5d77-4033-bc1e-7634d9cd1525" providerId="ADAL" clId="{5DF622DD-7543-4CD8-88CC-75EE5A4EC4CB}" dt="2023-06-04T04:40:40.878" v="4877" actId="12084"/>
          <ac:spMkLst>
            <pc:docMk/>
            <pc:sldMk cId="2901785778" sldId="732"/>
            <ac:spMk id="21" creationId="{3575C3F3-2562-4479-B9D9-258B9B176408}"/>
          </ac:spMkLst>
        </pc:spChg>
        <pc:spChg chg="add mod">
          <ac:chgData name="Eduard Eugenio Duarte Sepulveda" userId="d6757e78-5d77-4033-bc1e-7634d9cd1525" providerId="ADAL" clId="{5DF622DD-7543-4CD8-88CC-75EE5A4EC4CB}" dt="2023-06-04T04:43:00.279" v="4966" actId="1076"/>
          <ac:spMkLst>
            <pc:docMk/>
            <pc:sldMk cId="2901785778" sldId="732"/>
            <ac:spMk id="22" creationId="{75878B57-5637-8036-000D-FB4734CBE61A}"/>
          </ac:spMkLst>
        </pc:spChg>
        <pc:spChg chg="add del mod">
          <ac:chgData name="Eduard Eugenio Duarte Sepulveda" userId="d6757e78-5d77-4033-bc1e-7634d9cd1525" providerId="ADAL" clId="{5DF622DD-7543-4CD8-88CC-75EE5A4EC4CB}" dt="2023-06-04T04:42:07.083" v="4955" actId="478"/>
          <ac:spMkLst>
            <pc:docMk/>
            <pc:sldMk cId="2901785778" sldId="732"/>
            <ac:spMk id="23" creationId="{40642149-2323-E41C-4E9D-A33798B0739F}"/>
          </ac:spMkLst>
        </pc:spChg>
        <pc:spChg chg="add del mod">
          <ac:chgData name="Eduard Eugenio Duarte Sepulveda" userId="d6757e78-5d77-4033-bc1e-7634d9cd1525" providerId="ADAL" clId="{5DF622DD-7543-4CD8-88CC-75EE5A4EC4CB}" dt="2023-06-04T04:44:09.059" v="5040" actId="12084"/>
          <ac:spMkLst>
            <pc:docMk/>
            <pc:sldMk cId="2901785778" sldId="732"/>
            <ac:spMk id="29" creationId="{FF4851DD-6FB2-907A-4AA3-7B4E0FAFEFE5}"/>
          </ac:spMkLst>
        </pc:spChg>
        <pc:spChg chg="add mod">
          <ac:chgData name="Eduard Eugenio Duarte Sepulveda" userId="d6757e78-5d77-4033-bc1e-7634d9cd1525" providerId="ADAL" clId="{5DF622DD-7543-4CD8-88CC-75EE5A4EC4CB}" dt="2023-06-04T04:56:26.527" v="5274" actId="1076"/>
          <ac:spMkLst>
            <pc:docMk/>
            <pc:sldMk cId="2901785778" sldId="732"/>
            <ac:spMk id="31" creationId="{BBB8538F-863D-BF04-7521-DA36F70DC57E}"/>
          </ac:spMkLst>
        </pc:spChg>
        <pc:spChg chg="del">
          <ac:chgData name="Eduard Eugenio Duarte Sepulveda" userId="d6757e78-5d77-4033-bc1e-7634d9cd1525" providerId="ADAL" clId="{5DF622DD-7543-4CD8-88CC-75EE5A4EC4CB}" dt="2023-06-03T05:38:23.520" v="775" actId="478"/>
          <ac:spMkLst>
            <pc:docMk/>
            <pc:sldMk cId="2901785778" sldId="732"/>
            <ac:spMk id="60" creationId="{00000000-0000-0000-0000-000000000000}"/>
          </ac:spMkLst>
        </pc:spChg>
        <pc:spChg chg="del">
          <ac:chgData name="Eduard Eugenio Duarte Sepulveda" userId="d6757e78-5d77-4033-bc1e-7634d9cd1525" providerId="ADAL" clId="{5DF622DD-7543-4CD8-88CC-75EE5A4EC4CB}" dt="2023-06-03T05:38:23.520" v="775" actId="478"/>
          <ac:spMkLst>
            <pc:docMk/>
            <pc:sldMk cId="2901785778" sldId="732"/>
            <ac:spMk id="61" creationId="{00000000-0000-0000-0000-000000000000}"/>
          </ac:spMkLst>
        </pc:spChg>
        <pc:spChg chg="del">
          <ac:chgData name="Eduard Eugenio Duarte Sepulveda" userId="d6757e78-5d77-4033-bc1e-7634d9cd1525" providerId="ADAL" clId="{5DF622DD-7543-4CD8-88CC-75EE5A4EC4CB}" dt="2023-06-03T05:38:23.520" v="775" actId="478"/>
          <ac:spMkLst>
            <pc:docMk/>
            <pc:sldMk cId="2901785778" sldId="732"/>
            <ac:spMk id="63" creationId="{00000000-0000-0000-0000-000000000000}"/>
          </ac:spMkLst>
        </pc:spChg>
        <pc:spChg chg="del">
          <ac:chgData name="Eduard Eugenio Duarte Sepulveda" userId="d6757e78-5d77-4033-bc1e-7634d9cd1525" providerId="ADAL" clId="{5DF622DD-7543-4CD8-88CC-75EE5A4EC4CB}" dt="2023-06-03T05:38:23.520" v="775" actId="478"/>
          <ac:spMkLst>
            <pc:docMk/>
            <pc:sldMk cId="2901785778" sldId="732"/>
            <ac:spMk id="65" creationId="{00000000-0000-0000-0000-000000000000}"/>
          </ac:spMkLst>
        </pc:spChg>
        <pc:spChg chg="del">
          <ac:chgData name="Eduard Eugenio Duarte Sepulveda" userId="d6757e78-5d77-4033-bc1e-7634d9cd1525" providerId="ADAL" clId="{5DF622DD-7543-4CD8-88CC-75EE5A4EC4CB}" dt="2023-06-03T05:38:23.520" v="775" actId="478"/>
          <ac:spMkLst>
            <pc:docMk/>
            <pc:sldMk cId="2901785778" sldId="732"/>
            <ac:spMk id="67" creationId="{00000000-0000-0000-0000-000000000000}"/>
          </ac:spMkLst>
        </pc:spChg>
        <pc:spChg chg="del">
          <ac:chgData name="Eduard Eugenio Duarte Sepulveda" userId="d6757e78-5d77-4033-bc1e-7634d9cd1525" providerId="ADAL" clId="{5DF622DD-7543-4CD8-88CC-75EE5A4EC4CB}" dt="2023-06-03T05:38:23.520" v="775" actId="478"/>
          <ac:spMkLst>
            <pc:docMk/>
            <pc:sldMk cId="2901785778" sldId="732"/>
            <ac:spMk id="113" creationId="{00000000-0000-0000-0000-000000000000}"/>
          </ac:spMkLst>
        </pc:spChg>
        <pc:grpChg chg="del">
          <ac:chgData name="Eduard Eugenio Duarte Sepulveda" userId="d6757e78-5d77-4033-bc1e-7634d9cd1525" providerId="ADAL" clId="{5DF622DD-7543-4CD8-88CC-75EE5A4EC4CB}" dt="2023-06-03T05:38:23.520" v="775" actId="478"/>
          <ac:grpSpMkLst>
            <pc:docMk/>
            <pc:sldMk cId="2901785778" sldId="732"/>
            <ac:grpSpMk id="138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3T05:38:23.520" v="775" actId="478"/>
          <ac:grpSpMkLst>
            <pc:docMk/>
            <pc:sldMk cId="2901785778" sldId="732"/>
            <ac:grpSpMk id="141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3T05:38:29.338" v="776" actId="478"/>
          <ac:grpSpMkLst>
            <pc:docMk/>
            <pc:sldMk cId="2901785778" sldId="732"/>
            <ac:grpSpMk id="144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3T05:38:29.338" v="776" actId="478"/>
          <ac:grpSpMkLst>
            <pc:docMk/>
            <pc:sldMk cId="2901785778" sldId="732"/>
            <ac:grpSpMk id="147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3T05:38:29.338" v="776" actId="478"/>
          <ac:grpSpMkLst>
            <pc:docMk/>
            <pc:sldMk cId="2901785778" sldId="732"/>
            <ac:grpSpMk id="150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3T05:38:29.338" v="776" actId="478"/>
          <ac:grpSpMkLst>
            <pc:docMk/>
            <pc:sldMk cId="2901785778" sldId="732"/>
            <ac:grpSpMk id="153" creationId="{00000000-0000-0000-0000-000000000000}"/>
          </ac:grpSpMkLst>
        </pc:grpChg>
        <pc:graphicFrameChg chg="add del mod">
          <ac:chgData name="Eduard Eugenio Duarte Sepulveda" userId="d6757e78-5d77-4033-bc1e-7634d9cd1525" providerId="ADAL" clId="{5DF622DD-7543-4CD8-88CC-75EE5A4EC4CB}" dt="2023-06-04T04:32:02.847" v="4661" actId="12084"/>
          <ac:graphicFrameMkLst>
            <pc:docMk/>
            <pc:sldMk cId="2901785778" sldId="732"/>
            <ac:graphicFrameMk id="24" creationId="{EFD987AC-34DE-A923-1B43-C3D9E6D0C651}"/>
          </ac:graphicFrameMkLst>
        </pc:graphicFrameChg>
        <pc:graphicFrameChg chg="add del mod">
          <ac:chgData name="Eduard Eugenio Duarte Sepulveda" userId="d6757e78-5d77-4033-bc1e-7634d9cd1525" providerId="ADAL" clId="{5DF622DD-7543-4CD8-88CC-75EE5A4EC4CB}" dt="2023-06-04T04:37:10.518" v="4763" actId="478"/>
          <ac:graphicFrameMkLst>
            <pc:docMk/>
            <pc:sldMk cId="2901785778" sldId="732"/>
            <ac:graphicFrameMk id="25" creationId="{23589E7A-E4A6-8C7A-4E8A-5F07F3EFE5EF}"/>
          </ac:graphicFrameMkLst>
        </pc:graphicFrameChg>
        <pc:graphicFrameChg chg="add del mod">
          <ac:chgData name="Eduard Eugenio Duarte Sepulveda" userId="d6757e78-5d77-4033-bc1e-7634d9cd1525" providerId="ADAL" clId="{5DF622DD-7543-4CD8-88CC-75EE5A4EC4CB}" dt="2023-06-04T04:37:30.254" v="4765" actId="12084"/>
          <ac:graphicFrameMkLst>
            <pc:docMk/>
            <pc:sldMk cId="2901785778" sldId="732"/>
            <ac:graphicFrameMk id="26" creationId="{34091C04-F1B7-CD6C-FDAD-2CD09BF58F5E}"/>
          </ac:graphicFrameMkLst>
        </pc:graphicFrameChg>
        <pc:graphicFrameChg chg="add mod">
          <ac:chgData name="Eduard Eugenio Duarte Sepulveda" userId="d6757e78-5d77-4033-bc1e-7634d9cd1525" providerId="ADAL" clId="{5DF622DD-7543-4CD8-88CC-75EE5A4EC4CB}" dt="2023-06-04T04:42:57.046" v="4965" actId="1076"/>
          <ac:graphicFrameMkLst>
            <pc:docMk/>
            <pc:sldMk cId="2901785778" sldId="732"/>
            <ac:graphicFrameMk id="27" creationId="{CA3A3CF9-44B2-27FA-271D-841E4656AB07}"/>
          </ac:graphicFrameMkLst>
        </pc:graphicFrameChg>
        <pc:graphicFrameChg chg="add mod">
          <ac:chgData name="Eduard Eugenio Duarte Sepulveda" userId="d6757e78-5d77-4033-bc1e-7634d9cd1525" providerId="ADAL" clId="{5DF622DD-7543-4CD8-88CC-75EE5A4EC4CB}" dt="2023-06-04T04:43:35.042" v="5038" actId="313"/>
          <ac:graphicFrameMkLst>
            <pc:docMk/>
            <pc:sldMk cId="2901785778" sldId="732"/>
            <ac:graphicFrameMk id="28" creationId="{92C2B34F-D48B-F5D9-C7B6-252A636B766C}"/>
          </ac:graphicFrameMkLst>
        </pc:graphicFrameChg>
        <pc:graphicFrameChg chg="add mod">
          <ac:chgData name="Eduard Eugenio Duarte Sepulveda" userId="d6757e78-5d77-4033-bc1e-7634d9cd1525" providerId="ADAL" clId="{5DF622DD-7543-4CD8-88CC-75EE5A4EC4CB}" dt="2023-06-04T04:44:41.004" v="5066" actId="1076"/>
          <ac:graphicFrameMkLst>
            <pc:docMk/>
            <pc:sldMk cId="2901785778" sldId="732"/>
            <ac:graphicFrameMk id="30" creationId="{CEB5E74D-0F48-8F03-DE90-71211BA09FAF}"/>
          </ac:graphicFrameMkLst>
        </pc:graphicFrameChg>
        <pc:cxnChg chg="del">
          <ac:chgData name="Eduard Eugenio Duarte Sepulveda" userId="d6757e78-5d77-4033-bc1e-7634d9cd1525" providerId="ADAL" clId="{5DF622DD-7543-4CD8-88CC-75EE5A4EC4CB}" dt="2023-06-03T05:38:23.520" v="775" actId="478"/>
          <ac:cxnSpMkLst>
            <pc:docMk/>
            <pc:sldMk cId="2901785778" sldId="732"/>
            <ac:cxnSpMk id="10" creationId="{00000000-0000-0000-0000-000000000000}"/>
          </ac:cxnSpMkLst>
        </pc:cxnChg>
        <pc:cxnChg chg="del">
          <ac:chgData name="Eduard Eugenio Duarte Sepulveda" userId="d6757e78-5d77-4033-bc1e-7634d9cd1525" providerId="ADAL" clId="{5DF622DD-7543-4CD8-88CC-75EE5A4EC4CB}" dt="2023-06-03T05:38:23.520" v="775" actId="478"/>
          <ac:cxnSpMkLst>
            <pc:docMk/>
            <pc:sldMk cId="2901785778" sldId="732"/>
            <ac:cxnSpMk id="12" creationId="{00000000-0000-0000-0000-000000000000}"/>
          </ac:cxnSpMkLst>
        </pc:cxnChg>
        <pc:cxnChg chg="del">
          <ac:chgData name="Eduard Eugenio Duarte Sepulveda" userId="d6757e78-5d77-4033-bc1e-7634d9cd1525" providerId="ADAL" clId="{5DF622DD-7543-4CD8-88CC-75EE5A4EC4CB}" dt="2023-06-03T05:38:23.520" v="775" actId="478"/>
          <ac:cxnSpMkLst>
            <pc:docMk/>
            <pc:sldMk cId="2901785778" sldId="732"/>
            <ac:cxnSpMk id="14" creationId="{00000000-0000-0000-0000-000000000000}"/>
          </ac:cxnSpMkLst>
        </pc:cxnChg>
        <pc:cxnChg chg="del">
          <ac:chgData name="Eduard Eugenio Duarte Sepulveda" userId="d6757e78-5d77-4033-bc1e-7634d9cd1525" providerId="ADAL" clId="{5DF622DD-7543-4CD8-88CC-75EE5A4EC4CB}" dt="2023-06-03T05:38:23.520" v="775" actId="478"/>
          <ac:cxnSpMkLst>
            <pc:docMk/>
            <pc:sldMk cId="2901785778" sldId="732"/>
            <ac:cxnSpMk id="16" creationId="{00000000-0000-0000-0000-000000000000}"/>
          </ac:cxnSpMkLst>
        </pc:cxnChg>
        <pc:cxnChg chg="del">
          <ac:chgData name="Eduard Eugenio Duarte Sepulveda" userId="d6757e78-5d77-4033-bc1e-7634d9cd1525" providerId="ADAL" clId="{5DF622DD-7543-4CD8-88CC-75EE5A4EC4CB}" dt="2023-06-03T05:38:23.520" v="775" actId="478"/>
          <ac:cxnSpMkLst>
            <pc:docMk/>
            <pc:sldMk cId="2901785778" sldId="732"/>
            <ac:cxnSpMk id="18" creationId="{00000000-0000-0000-0000-000000000000}"/>
          </ac:cxnSpMkLst>
        </pc:cxnChg>
      </pc:sldChg>
      <pc:sldChg chg="addSp modSp new mod">
        <pc:chgData name="Eduard Eugenio Duarte Sepulveda" userId="d6757e78-5d77-4033-bc1e-7634d9cd1525" providerId="ADAL" clId="{5DF622DD-7543-4CD8-88CC-75EE5A4EC4CB}" dt="2023-06-04T05:23:57.302" v="5626" actId="20577"/>
        <pc:sldMkLst>
          <pc:docMk/>
          <pc:sldMk cId="654497473" sldId="733"/>
        </pc:sldMkLst>
        <pc:spChg chg="mod">
          <ac:chgData name="Eduard Eugenio Duarte Sepulveda" userId="d6757e78-5d77-4033-bc1e-7634d9cd1525" providerId="ADAL" clId="{5DF622DD-7543-4CD8-88CC-75EE5A4EC4CB}" dt="2023-06-04T05:23:57.302" v="5626" actId="20577"/>
          <ac:spMkLst>
            <pc:docMk/>
            <pc:sldMk cId="654497473" sldId="733"/>
            <ac:spMk id="2" creationId="{8D201F73-E376-7887-7F4C-EDD793C07479}"/>
          </ac:spMkLst>
        </pc:spChg>
        <pc:spChg chg="mod">
          <ac:chgData name="Eduard Eugenio Duarte Sepulveda" userId="d6757e78-5d77-4033-bc1e-7634d9cd1525" providerId="ADAL" clId="{5DF622DD-7543-4CD8-88CC-75EE5A4EC4CB}" dt="2023-06-04T05:23:52.014" v="5609" actId="20577"/>
          <ac:spMkLst>
            <pc:docMk/>
            <pc:sldMk cId="654497473" sldId="733"/>
            <ac:spMk id="3" creationId="{352E1D53-B4F0-2525-8A18-1070D38F2E06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4" creationId="{8615D0B3-FCF2-4FBB-4AE7-9E9AF85B5E7E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5" creationId="{D994E010-699F-3E8B-7066-537B3F0F42BF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6" creationId="{24391C38-5E6C-9F28-F6DD-E508356DC28A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7" creationId="{AFE2C09F-C7E5-3909-CE6B-0964A30881A0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8" creationId="{A133F3F1-A9B1-4BA8-4B22-C6C1946C23E9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9" creationId="{848C1D85-602C-732D-64E7-F94C3939AE0B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0" creationId="{59583C33-B65F-0801-5744-4458394B2CCE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1" creationId="{F515BD64-021E-0E6A-37BA-ED27C8D0289C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2" creationId="{F065CD44-9BF5-1D67-0372-45314BBC6495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3" creationId="{AE272710-E212-310B-994D-141B894DF44B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4" creationId="{2AB6CCCB-5FFF-919C-303F-846F0DE3B869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5" creationId="{F2F72D14-BA6B-227C-E02D-F460ADEDE5F2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6" creationId="{DE3C0223-A3B1-704E-B365-186177A1E6E7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7" creationId="{A6F3B243-C872-30C2-1CCA-84F73D10D9B9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8" creationId="{F665BE43-5979-82C8-4F04-EF81466A0567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19" creationId="{65ABE1C3-2C37-3177-BEB9-57C56F5C38B2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22" creationId="{D33937A6-1700-D1B4-A818-F64B6F39C142}"/>
          </ac:spMkLst>
        </pc:spChg>
        <pc:spChg chg="add mod">
          <ac:chgData name="Eduard Eugenio Duarte Sepulveda" userId="d6757e78-5d77-4033-bc1e-7634d9cd1525" providerId="ADAL" clId="{5DF622DD-7543-4CD8-88CC-75EE5A4EC4CB}" dt="2023-06-03T05:42:14.324" v="1021"/>
          <ac:spMkLst>
            <pc:docMk/>
            <pc:sldMk cId="654497473" sldId="733"/>
            <ac:spMk id="23" creationId="{D7CBEC5D-8F43-E99D-66B1-B20C25CB8354}"/>
          </ac:spMkLst>
        </pc:spChg>
        <pc:cxnChg chg="add mod">
          <ac:chgData name="Eduard Eugenio Duarte Sepulveda" userId="d6757e78-5d77-4033-bc1e-7634d9cd1525" providerId="ADAL" clId="{5DF622DD-7543-4CD8-88CC-75EE5A4EC4CB}" dt="2023-06-03T05:42:14.324" v="1021"/>
          <ac:cxnSpMkLst>
            <pc:docMk/>
            <pc:sldMk cId="654497473" sldId="733"/>
            <ac:cxnSpMk id="20" creationId="{3BB5008D-26D6-B3CE-24F4-9BF7FAEB2DF6}"/>
          </ac:cxnSpMkLst>
        </pc:cxnChg>
        <pc:cxnChg chg="add mod">
          <ac:chgData name="Eduard Eugenio Duarte Sepulveda" userId="d6757e78-5d77-4033-bc1e-7634d9cd1525" providerId="ADAL" clId="{5DF622DD-7543-4CD8-88CC-75EE5A4EC4CB}" dt="2023-06-03T05:42:14.324" v="1021"/>
          <ac:cxnSpMkLst>
            <pc:docMk/>
            <pc:sldMk cId="654497473" sldId="733"/>
            <ac:cxnSpMk id="21" creationId="{C9487968-B467-CE18-0F45-8B48222B3286}"/>
          </ac:cxnSpMkLst>
        </pc:cxnChg>
      </pc:sldChg>
      <pc:sldChg chg="addSp delSp modSp new mod">
        <pc:chgData name="Eduard Eugenio Duarte Sepulveda" userId="d6757e78-5d77-4033-bc1e-7634d9cd1525" providerId="ADAL" clId="{5DF622DD-7543-4CD8-88CC-75EE5A4EC4CB}" dt="2023-06-04T05:24:23.535" v="5629"/>
        <pc:sldMkLst>
          <pc:docMk/>
          <pc:sldMk cId="532268468" sldId="734"/>
        </pc:sldMkLst>
        <pc:spChg chg="del">
          <ac:chgData name="Eduard Eugenio Duarte Sepulveda" userId="d6757e78-5d77-4033-bc1e-7634d9cd1525" providerId="ADAL" clId="{5DF622DD-7543-4CD8-88CC-75EE5A4EC4CB}" dt="2023-06-04T05:24:23.159" v="5628" actId="478"/>
          <ac:spMkLst>
            <pc:docMk/>
            <pc:sldMk cId="532268468" sldId="734"/>
            <ac:spMk id="2" creationId="{7710A039-634D-9AA4-ACD2-F1F99D43426F}"/>
          </ac:spMkLst>
        </pc:spChg>
        <pc:spChg chg="del">
          <ac:chgData name="Eduard Eugenio Duarte Sepulveda" userId="d6757e78-5d77-4033-bc1e-7634d9cd1525" providerId="ADAL" clId="{5DF622DD-7543-4CD8-88CC-75EE5A4EC4CB}" dt="2023-06-04T05:24:20.450" v="5627" actId="478"/>
          <ac:spMkLst>
            <pc:docMk/>
            <pc:sldMk cId="532268468" sldId="734"/>
            <ac:spMk id="3" creationId="{647B0780-6A5A-1ABB-5467-F6F3194C37EA}"/>
          </ac:spMkLst>
        </pc:spChg>
        <pc:spChg chg="add mod">
          <ac:chgData name="Eduard Eugenio Duarte Sepulveda" userId="d6757e78-5d77-4033-bc1e-7634d9cd1525" providerId="ADAL" clId="{5DF622DD-7543-4CD8-88CC-75EE5A4EC4CB}" dt="2023-06-03T05:43:17.919" v="1024" actId="1076"/>
          <ac:spMkLst>
            <pc:docMk/>
            <pc:sldMk cId="532268468" sldId="734"/>
            <ac:spMk id="5" creationId="{E4017F7B-337A-4357-AD76-F9049B2480FD}"/>
          </ac:spMkLst>
        </pc:spChg>
        <pc:spChg chg="add mod">
          <ac:chgData name="Eduard Eugenio Duarte Sepulveda" userId="d6757e78-5d77-4033-bc1e-7634d9cd1525" providerId="ADAL" clId="{5DF622DD-7543-4CD8-88CC-75EE5A4EC4CB}" dt="2023-06-03T05:43:17.919" v="1024" actId="1076"/>
          <ac:spMkLst>
            <pc:docMk/>
            <pc:sldMk cId="532268468" sldId="734"/>
            <ac:spMk id="6" creationId="{D96C90ED-BFEB-4266-919D-84AE92489BBE}"/>
          </ac:spMkLst>
        </pc:spChg>
        <pc:spChg chg="add mod">
          <ac:chgData name="Eduard Eugenio Duarte Sepulveda" userId="d6757e78-5d77-4033-bc1e-7634d9cd1525" providerId="ADAL" clId="{5DF622DD-7543-4CD8-88CC-75EE5A4EC4CB}" dt="2023-06-03T05:43:17.919" v="1024" actId="1076"/>
          <ac:spMkLst>
            <pc:docMk/>
            <pc:sldMk cId="532268468" sldId="734"/>
            <ac:spMk id="11" creationId="{00532322-9129-4AE1-A2C4-285E4E74738D}"/>
          </ac:spMkLst>
        </pc:spChg>
        <pc:spChg chg="add mod">
          <ac:chgData name="Eduard Eugenio Duarte Sepulveda" userId="d6757e78-5d77-4033-bc1e-7634d9cd1525" providerId="ADAL" clId="{5DF622DD-7543-4CD8-88CC-75EE5A4EC4CB}" dt="2023-06-03T05:43:17.919" v="1024" actId="1076"/>
          <ac:spMkLst>
            <pc:docMk/>
            <pc:sldMk cId="532268468" sldId="734"/>
            <ac:spMk id="12" creationId="{C8E8FD00-D414-4BDD-A0F6-A0C24F53F472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13" creationId="{6509078B-05C5-4B33-843C-2B7948A009F1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14" creationId="{9181D868-00A2-4754-8593-EEDB186F88F8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15" creationId="{CED58B34-04B8-4DC3-BDFC-C99467E45E98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16" creationId="{0B677530-A725-48E9-8839-0C6DB4A46B3D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17" creationId="{6262D58F-4694-43C1-AEBC-3E9F47F0AE33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18" creationId="{1D52415D-2403-4AC2-AFB8-17725CFC78BB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19" creationId="{5CC1EB65-72A2-48DB-8B89-84B2B5FF417E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0" creationId="{74E139D2-9E2A-4B5D-AAA5-2FA4DB1A5887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1" creationId="{4B84983B-A52D-431D-B8F5-8768841C834E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2" creationId="{50C6A7CC-D3EE-4852-873C-0A70C854DA46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3" creationId="{E6C65315-89DF-4DF1-809B-0085743F3484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4" creationId="{1487F2F5-5EBE-47FC-8087-A58702BFB05C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5" creationId="{E72B7BBD-236F-40D2-8506-FF27B9EBC757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6" creationId="{AE02AF41-A9A4-4279-AEAB-582445A5ABDF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7" creationId="{46F4A286-A62B-4726-B497-87AE11931957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8" creationId="{E6EF14F2-2CF3-411A-9CE4-5AF5F42A1D13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29" creationId="{2E8B4373-5B9B-4F45-9969-5EE2D2DBF1DE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0" creationId="{7AC297AD-E6CC-4286-811A-72FDF1D24A3B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1" creationId="{16625FEA-0355-4F35-8987-845F57220FF8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2" creationId="{135D82D0-194A-43F7-9CCB-E1623C2BAC28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3" creationId="{1DBE2E99-9501-4CEC-ABAD-5EBDD538686B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4" creationId="{F995D8E6-CBE4-42BF-9EC4-19AB17DA2CA5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5" creationId="{689728C1-3BEF-493D-9BA0-492089286D8F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6" creationId="{E2E79352-95E5-474E-B608-E8E01492C3AE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7" creationId="{2A528983-D0C2-40C1-A163-6433DB8ECA8B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8" creationId="{13367CA4-8C36-48C8-8820-C84C81295548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39" creationId="{23104867-F1E2-423B-BC85-6617DEF3ED38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0" creationId="{FF9617FC-4785-4DA5-8C93-902574CDAD23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1" creationId="{E6125E08-6F5D-49E0-AE48-B110B1D8C443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2" creationId="{E614F3E2-31CA-406E-AD80-AC36483E4863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3" creationId="{66581414-289B-44E9-9E61-A93ED93A9EA1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4" creationId="{48EA05D2-6BC4-432C-B895-735935079B34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5" creationId="{BC9B6E05-973C-47D9-AA79-AF55AF003F58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6" creationId="{2CB1677F-ECF0-4D1C-B730-A656AD5CFB66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7" creationId="{A6D00C46-E545-47D6-BC51-76CF57E8BE94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8" creationId="{38C0B869-195D-4EEB-9B4F-E0E988C54EDD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49" creationId="{B8953104-FFBB-48D6-9CAE-D0FB2165AABA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0" creationId="{59E8D3C6-BCB2-4DE2-83E5-FC766CC316C5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1" creationId="{4308A407-0BEB-496A-9472-45505438E0B5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2" creationId="{EC471657-35BB-46E7-B5EE-54CD64A90B49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3" creationId="{8C64AD49-5345-4643-A460-BC0E560906C6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4" creationId="{09C707BE-3517-4E5A-B467-E4B78D2411C7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5" creationId="{3DC6F85D-6F90-428F-9380-DAE4F6501332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6" creationId="{2734091F-49D1-4A77-9929-550C9B75B8DD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7" creationId="{0FD89818-2DA6-4C0B-B63B-99AA6AB0E78F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8" creationId="{29F8D792-5BDC-4503-8765-6794363BAE2B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59" creationId="{6AC981B6-42AA-4C30-950C-DC5E8A3EE9CC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60" creationId="{22C74A93-0AF5-430E-BE97-AC1D6FE95CD6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61" creationId="{3EC4B2A3-099A-4238-BC5F-236B5D6CE070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62" creationId="{2FC828BA-6571-416B-8A73-80614CDF69F6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63" creationId="{47E7B015-9D04-4361-951D-FCB779C36C43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64" creationId="{685BB09D-9227-45B7-AD9F-ADCD7CA64F06}"/>
          </ac:spMkLst>
        </pc:spChg>
        <pc:spChg chg="add mod">
          <ac:chgData name="Eduard Eugenio Duarte Sepulveda" userId="d6757e78-5d77-4033-bc1e-7634d9cd1525" providerId="ADAL" clId="{5DF622DD-7543-4CD8-88CC-75EE5A4EC4CB}" dt="2023-06-03T05:43:13.939" v="1023"/>
          <ac:spMkLst>
            <pc:docMk/>
            <pc:sldMk cId="532268468" sldId="734"/>
            <ac:spMk id="65" creationId="{7F1C3C90-8D88-4361-9FAA-59A0CBFC0BAF}"/>
          </ac:spMkLst>
        </pc:spChg>
        <pc:spChg chg="add mod">
          <ac:chgData name="Eduard Eugenio Duarte Sepulveda" userId="d6757e78-5d77-4033-bc1e-7634d9cd1525" providerId="ADAL" clId="{5DF622DD-7543-4CD8-88CC-75EE5A4EC4CB}" dt="2023-06-04T05:24:23.535" v="5629"/>
          <ac:spMkLst>
            <pc:docMk/>
            <pc:sldMk cId="532268468" sldId="734"/>
            <ac:spMk id="66" creationId="{8D60F675-0C2C-FF75-4EFB-B98ADCF24139}"/>
          </ac:spMkLst>
        </pc:spChg>
        <pc:spChg chg="add mod">
          <ac:chgData name="Eduard Eugenio Duarte Sepulveda" userId="d6757e78-5d77-4033-bc1e-7634d9cd1525" providerId="ADAL" clId="{5DF622DD-7543-4CD8-88CC-75EE5A4EC4CB}" dt="2023-06-04T05:24:23.535" v="5629"/>
          <ac:spMkLst>
            <pc:docMk/>
            <pc:sldMk cId="532268468" sldId="734"/>
            <ac:spMk id="67" creationId="{0E328581-2D25-13CD-CE96-61C719B735B7}"/>
          </ac:spMkLst>
        </pc:spChg>
        <pc:grpChg chg="add mod">
          <ac:chgData name="Eduard Eugenio Duarte Sepulveda" userId="d6757e78-5d77-4033-bc1e-7634d9cd1525" providerId="ADAL" clId="{5DF622DD-7543-4CD8-88CC-75EE5A4EC4CB}" dt="2023-06-03T05:43:17.919" v="1024" actId="1076"/>
          <ac:grpSpMkLst>
            <pc:docMk/>
            <pc:sldMk cId="532268468" sldId="734"/>
            <ac:grpSpMk id="4" creationId="{A5AF0AD1-F077-4738-B3F8-67F023B86D88}"/>
          </ac:grpSpMkLst>
        </pc:grpChg>
        <pc:grpChg chg="add mod">
          <ac:chgData name="Eduard Eugenio Duarte Sepulveda" userId="d6757e78-5d77-4033-bc1e-7634d9cd1525" providerId="ADAL" clId="{5DF622DD-7543-4CD8-88CC-75EE5A4EC4CB}" dt="2023-06-03T05:43:17.919" v="1024" actId="1076"/>
          <ac:grpSpMkLst>
            <pc:docMk/>
            <pc:sldMk cId="532268468" sldId="734"/>
            <ac:grpSpMk id="7" creationId="{F748CC73-3E41-49C9-9339-79D56750B5B2}"/>
          </ac:grpSpMkLst>
        </pc:grpChg>
        <pc:grpChg chg="add mod">
          <ac:chgData name="Eduard Eugenio Duarte Sepulveda" userId="d6757e78-5d77-4033-bc1e-7634d9cd1525" providerId="ADAL" clId="{5DF622DD-7543-4CD8-88CC-75EE5A4EC4CB}" dt="2023-06-03T05:43:17.919" v="1024" actId="1076"/>
          <ac:grpSpMkLst>
            <pc:docMk/>
            <pc:sldMk cId="532268468" sldId="734"/>
            <ac:grpSpMk id="8" creationId="{79B5DA53-15F9-446E-885D-EC0602389C38}"/>
          </ac:grpSpMkLst>
        </pc:grpChg>
        <pc:grpChg chg="add mod">
          <ac:chgData name="Eduard Eugenio Duarte Sepulveda" userId="d6757e78-5d77-4033-bc1e-7634d9cd1525" providerId="ADAL" clId="{5DF622DD-7543-4CD8-88CC-75EE5A4EC4CB}" dt="2023-06-03T05:43:17.919" v="1024" actId="1076"/>
          <ac:grpSpMkLst>
            <pc:docMk/>
            <pc:sldMk cId="532268468" sldId="734"/>
            <ac:grpSpMk id="9" creationId="{13C1455A-FE50-4541-ACB1-7298E2CFD024}"/>
          </ac:grpSpMkLst>
        </pc:grpChg>
        <pc:grpChg chg="add mod">
          <ac:chgData name="Eduard Eugenio Duarte Sepulveda" userId="d6757e78-5d77-4033-bc1e-7634d9cd1525" providerId="ADAL" clId="{5DF622DD-7543-4CD8-88CC-75EE5A4EC4CB}" dt="2023-06-03T05:43:17.919" v="1024" actId="1076"/>
          <ac:grpSpMkLst>
            <pc:docMk/>
            <pc:sldMk cId="532268468" sldId="734"/>
            <ac:grpSpMk id="10" creationId="{3EE053A0-B784-4972-AC9E-C9509ACBCC70}"/>
          </ac:grpSpMkLst>
        </pc:grpChg>
      </pc:sldChg>
      <pc:sldChg chg="addSp modSp new del mod">
        <pc:chgData name="Eduard Eugenio Duarte Sepulveda" userId="d6757e78-5d77-4033-bc1e-7634d9cd1525" providerId="ADAL" clId="{5DF622DD-7543-4CD8-88CC-75EE5A4EC4CB}" dt="2023-06-04T05:25:10.068" v="5632" actId="47"/>
        <pc:sldMkLst>
          <pc:docMk/>
          <pc:sldMk cId="3144105895" sldId="735"/>
        </pc:sldMkLst>
        <pc:spChg chg="add mod">
          <ac:chgData name="Eduard Eugenio Duarte Sepulveda" userId="d6757e78-5d77-4033-bc1e-7634d9cd1525" providerId="ADAL" clId="{5DF622DD-7543-4CD8-88CC-75EE5A4EC4CB}" dt="2023-06-03T05:44:22.817" v="1027"/>
          <ac:spMkLst>
            <pc:docMk/>
            <pc:sldMk cId="3144105895" sldId="735"/>
            <ac:spMk id="4" creationId="{7B234DD7-9003-173A-C780-736C9FAC6D81}"/>
          </ac:spMkLst>
        </pc:spChg>
        <pc:spChg chg="add mod">
          <ac:chgData name="Eduard Eugenio Duarte Sepulveda" userId="d6757e78-5d77-4033-bc1e-7634d9cd1525" providerId="ADAL" clId="{5DF622DD-7543-4CD8-88CC-75EE5A4EC4CB}" dt="2023-06-03T05:44:22.817" v="1027"/>
          <ac:spMkLst>
            <pc:docMk/>
            <pc:sldMk cId="3144105895" sldId="735"/>
            <ac:spMk id="5" creationId="{4FA9A21B-7B9C-15BD-1605-E5D6DB0E7265}"/>
          </ac:spMkLst>
        </pc:spChg>
        <pc:spChg chg="add mod">
          <ac:chgData name="Eduard Eugenio Duarte Sepulveda" userId="d6757e78-5d77-4033-bc1e-7634d9cd1525" providerId="ADAL" clId="{5DF622DD-7543-4CD8-88CC-75EE5A4EC4CB}" dt="2023-06-03T05:44:22.817" v="1027"/>
          <ac:spMkLst>
            <pc:docMk/>
            <pc:sldMk cId="3144105895" sldId="735"/>
            <ac:spMk id="6" creationId="{15239621-9412-1BBC-6F64-DF50166BE7FD}"/>
          </ac:spMkLst>
        </pc:spChg>
        <pc:spChg chg="add mod">
          <ac:chgData name="Eduard Eugenio Duarte Sepulveda" userId="d6757e78-5d77-4033-bc1e-7634d9cd1525" providerId="ADAL" clId="{5DF622DD-7543-4CD8-88CC-75EE5A4EC4CB}" dt="2023-06-03T05:44:22.817" v="1027"/>
          <ac:spMkLst>
            <pc:docMk/>
            <pc:sldMk cId="3144105895" sldId="735"/>
            <ac:spMk id="7" creationId="{A5854046-AE17-A0A2-C19A-887FFBBA4AF1}"/>
          </ac:spMkLst>
        </pc:spChg>
        <pc:spChg chg="add mod">
          <ac:chgData name="Eduard Eugenio Duarte Sepulveda" userId="d6757e78-5d77-4033-bc1e-7634d9cd1525" providerId="ADAL" clId="{5DF622DD-7543-4CD8-88CC-75EE5A4EC4CB}" dt="2023-06-03T05:44:22.817" v="1027"/>
          <ac:spMkLst>
            <pc:docMk/>
            <pc:sldMk cId="3144105895" sldId="735"/>
            <ac:spMk id="8" creationId="{E211AD6E-97B1-C6CD-63A6-9381707486BD}"/>
          </ac:spMkLst>
        </pc:spChg>
        <pc:spChg chg="add mod">
          <ac:chgData name="Eduard Eugenio Duarte Sepulveda" userId="d6757e78-5d77-4033-bc1e-7634d9cd1525" providerId="ADAL" clId="{5DF622DD-7543-4CD8-88CC-75EE5A4EC4CB}" dt="2023-06-03T05:44:22.817" v="1027"/>
          <ac:spMkLst>
            <pc:docMk/>
            <pc:sldMk cId="3144105895" sldId="735"/>
            <ac:spMk id="9" creationId="{A659A104-4D88-40D7-EBBA-757CB4E57EC2}"/>
          </ac:spMkLst>
        </pc:spChg>
        <pc:picChg chg="add mod">
          <ac:chgData name="Eduard Eugenio Duarte Sepulveda" userId="d6757e78-5d77-4033-bc1e-7634d9cd1525" providerId="ADAL" clId="{5DF622DD-7543-4CD8-88CC-75EE5A4EC4CB}" dt="2023-06-03T20:06:50.606" v="1423" actId="1076"/>
          <ac:picMkLst>
            <pc:docMk/>
            <pc:sldMk cId="3144105895" sldId="735"/>
            <ac:picMk id="11" creationId="{09687399-368A-E34B-7E76-831A9D5B8A0F}"/>
          </ac:picMkLst>
        </pc:picChg>
      </pc:sldChg>
      <pc:sldChg chg="add ord modNotes">
        <pc:chgData name="Eduard Eugenio Duarte Sepulveda" userId="d6757e78-5d77-4033-bc1e-7634d9cd1525" providerId="ADAL" clId="{5DF622DD-7543-4CD8-88CC-75EE5A4EC4CB}" dt="2023-06-03T05:44:35.146" v="1033"/>
        <pc:sldMkLst>
          <pc:docMk/>
          <pc:sldMk cId="1184460070" sldId="946"/>
        </pc:sldMkLst>
      </pc:sldChg>
      <pc:sldChg chg="modSp new del mod">
        <pc:chgData name="Eduard Eugenio Duarte Sepulveda" userId="d6757e78-5d77-4033-bc1e-7634d9cd1525" providerId="ADAL" clId="{5DF622DD-7543-4CD8-88CC-75EE5A4EC4CB}" dt="2023-06-04T00:36:50.256" v="2164" actId="47"/>
        <pc:sldMkLst>
          <pc:docMk/>
          <pc:sldMk cId="2642486397" sldId="947"/>
        </pc:sldMkLst>
        <pc:spChg chg="mod">
          <ac:chgData name="Eduard Eugenio Duarte Sepulveda" userId="d6757e78-5d77-4033-bc1e-7634d9cd1525" providerId="ADAL" clId="{5DF622DD-7543-4CD8-88CC-75EE5A4EC4CB}" dt="2023-06-04T00:31:44.790" v="2126"/>
          <ac:spMkLst>
            <pc:docMk/>
            <pc:sldMk cId="2642486397" sldId="947"/>
            <ac:spMk id="2" creationId="{7E4C4019-346B-6122-7A1E-5A13DB4D72A6}"/>
          </ac:spMkLst>
        </pc:spChg>
      </pc:sldChg>
      <pc:sldChg chg="addSp modSp new mod ord">
        <pc:chgData name="Eduard Eugenio Duarte Sepulveda" userId="d6757e78-5d77-4033-bc1e-7634d9cd1525" providerId="ADAL" clId="{5DF622DD-7543-4CD8-88CC-75EE5A4EC4CB}" dt="2023-06-04T00:35:03.467" v="2163" actId="20577"/>
        <pc:sldMkLst>
          <pc:docMk/>
          <pc:sldMk cId="3972480161" sldId="948"/>
        </pc:sldMkLst>
        <pc:spChg chg="mod">
          <ac:chgData name="Eduard Eugenio Duarte Sepulveda" userId="d6757e78-5d77-4033-bc1e-7634d9cd1525" providerId="ADAL" clId="{5DF622DD-7543-4CD8-88CC-75EE5A4EC4CB}" dt="2023-06-04T00:33:08.803" v="2136"/>
          <ac:spMkLst>
            <pc:docMk/>
            <pc:sldMk cId="3972480161" sldId="948"/>
            <ac:spMk id="2" creationId="{47240889-B349-F5B3-F74E-A425BC443E76}"/>
          </ac:spMkLst>
        </pc:spChg>
        <pc:spChg chg="mod">
          <ac:chgData name="Eduard Eugenio Duarte Sepulveda" userId="d6757e78-5d77-4033-bc1e-7634d9cd1525" providerId="ADAL" clId="{5DF622DD-7543-4CD8-88CC-75EE5A4EC4CB}" dt="2023-06-04T00:35:03.467" v="2163" actId="20577"/>
          <ac:spMkLst>
            <pc:docMk/>
            <pc:sldMk cId="3972480161" sldId="948"/>
            <ac:spMk id="3" creationId="{3A2667CC-6B5C-23AE-1C56-E0D8E81BA26D}"/>
          </ac:spMkLst>
        </pc:spChg>
        <pc:picChg chg="add mod">
          <ac:chgData name="Eduard Eugenio Duarte Sepulveda" userId="d6757e78-5d77-4033-bc1e-7634d9cd1525" providerId="ADAL" clId="{5DF622DD-7543-4CD8-88CC-75EE5A4EC4CB}" dt="2023-06-04T00:34:13.062" v="2140" actId="1076"/>
          <ac:picMkLst>
            <pc:docMk/>
            <pc:sldMk cId="3972480161" sldId="948"/>
            <ac:picMk id="5" creationId="{50D2A7F6-F4A2-B125-D435-105FDE58C355}"/>
          </ac:picMkLst>
        </pc:picChg>
      </pc:sldChg>
      <pc:sldChg chg="addSp delSp modSp new mod setBg addAnim delAnim setClrOvrMap">
        <pc:chgData name="Eduard Eugenio Duarte Sepulveda" userId="d6757e78-5d77-4033-bc1e-7634d9cd1525" providerId="ADAL" clId="{5DF622DD-7543-4CD8-88CC-75EE5A4EC4CB}" dt="2023-06-04T03:35:09.103" v="2683" actId="26606"/>
        <pc:sldMkLst>
          <pc:docMk/>
          <pc:sldMk cId="753985394" sldId="949"/>
        </pc:sldMkLst>
        <pc:spChg chg="mod ord">
          <ac:chgData name="Eduard Eugenio Duarte Sepulveda" userId="d6757e78-5d77-4033-bc1e-7634d9cd1525" providerId="ADAL" clId="{5DF622DD-7543-4CD8-88CC-75EE5A4EC4CB}" dt="2023-06-04T03:35:09.103" v="2683" actId="26606"/>
          <ac:spMkLst>
            <pc:docMk/>
            <pc:sldMk cId="753985394" sldId="949"/>
            <ac:spMk id="2" creationId="{23F15244-F8BE-58F0-F6B1-D67475D0C46E}"/>
          </ac:spMkLst>
        </pc:spChg>
        <pc:spChg chg="mod ord">
          <ac:chgData name="Eduard Eugenio Duarte Sepulveda" userId="d6757e78-5d77-4033-bc1e-7634d9cd1525" providerId="ADAL" clId="{5DF622DD-7543-4CD8-88CC-75EE5A4EC4CB}" dt="2023-06-04T03:35:09.103" v="2683" actId="26606"/>
          <ac:spMkLst>
            <pc:docMk/>
            <pc:sldMk cId="753985394" sldId="949"/>
            <ac:spMk id="3" creationId="{E501F023-412A-525D-75D4-A9F66E42E649}"/>
          </ac:spMkLst>
        </pc:spChg>
        <pc:spChg chg="add del">
          <ac:chgData name="Eduard Eugenio Duarte Sepulveda" userId="d6757e78-5d77-4033-bc1e-7634d9cd1525" providerId="ADAL" clId="{5DF622DD-7543-4CD8-88CC-75EE5A4EC4CB}" dt="2023-06-04T03:29:52.661" v="2612" actId="22"/>
          <ac:spMkLst>
            <pc:docMk/>
            <pc:sldMk cId="753985394" sldId="949"/>
            <ac:spMk id="5" creationId="{09C9D6AD-5182-AAE9-97D5-42100167DA0E}"/>
          </ac:spMkLst>
        </pc:spChg>
        <pc:spChg chg="add del">
          <ac:chgData name="Eduard Eugenio Duarte Sepulveda" userId="d6757e78-5d77-4033-bc1e-7634d9cd1525" providerId="ADAL" clId="{5DF622DD-7543-4CD8-88CC-75EE5A4EC4CB}" dt="2023-06-04T03:33:29.269" v="2662" actId="26606"/>
          <ac:spMkLst>
            <pc:docMk/>
            <pc:sldMk cId="753985394" sldId="949"/>
            <ac:spMk id="12" creationId="{3A8EC506-B1DA-46A1-B44D-774E68468E13}"/>
          </ac:spMkLst>
        </pc:spChg>
        <pc:spChg chg="add del">
          <ac:chgData name="Eduard Eugenio Duarte Sepulveda" userId="d6757e78-5d77-4033-bc1e-7634d9cd1525" providerId="ADAL" clId="{5DF622DD-7543-4CD8-88CC-75EE5A4EC4CB}" dt="2023-06-04T03:33:29.269" v="2662" actId="26606"/>
          <ac:spMkLst>
            <pc:docMk/>
            <pc:sldMk cId="753985394" sldId="949"/>
            <ac:spMk id="14" creationId="{BFF30785-305E-45D7-984F-5AA93D3CA561}"/>
          </ac:spMkLst>
        </pc:spChg>
        <pc:spChg chg="add del">
          <ac:chgData name="Eduard Eugenio Duarte Sepulveda" userId="d6757e78-5d77-4033-bc1e-7634d9cd1525" providerId="ADAL" clId="{5DF622DD-7543-4CD8-88CC-75EE5A4EC4CB}" dt="2023-06-04T03:33:29.269" v="2662" actId="26606"/>
          <ac:spMkLst>
            <pc:docMk/>
            <pc:sldMk cId="753985394" sldId="949"/>
            <ac:spMk id="18" creationId="{CA73784B-AC76-4BAD-93AF-C72D0EDFD715}"/>
          </ac:spMkLst>
        </pc:spChg>
        <pc:spChg chg="add del">
          <ac:chgData name="Eduard Eugenio Duarte Sepulveda" userId="d6757e78-5d77-4033-bc1e-7634d9cd1525" providerId="ADAL" clId="{5DF622DD-7543-4CD8-88CC-75EE5A4EC4CB}" dt="2023-06-04T03:34:10.798" v="2664" actId="26606"/>
          <ac:spMkLst>
            <pc:docMk/>
            <pc:sldMk cId="753985394" sldId="949"/>
            <ac:spMk id="23" creationId="{3A8EC506-B1DA-46A1-B44D-774E68468E13}"/>
          </ac:spMkLst>
        </pc:spChg>
        <pc:spChg chg="add del">
          <ac:chgData name="Eduard Eugenio Duarte Sepulveda" userId="d6757e78-5d77-4033-bc1e-7634d9cd1525" providerId="ADAL" clId="{5DF622DD-7543-4CD8-88CC-75EE5A4EC4CB}" dt="2023-06-04T03:34:10.798" v="2664" actId="26606"/>
          <ac:spMkLst>
            <pc:docMk/>
            <pc:sldMk cId="753985394" sldId="949"/>
            <ac:spMk id="24" creationId="{BFF30785-305E-45D7-984F-5AA93D3CA561}"/>
          </ac:spMkLst>
        </pc:spChg>
        <pc:spChg chg="add del">
          <ac:chgData name="Eduard Eugenio Duarte Sepulveda" userId="d6757e78-5d77-4033-bc1e-7634d9cd1525" providerId="ADAL" clId="{5DF622DD-7543-4CD8-88CC-75EE5A4EC4CB}" dt="2023-06-04T03:34:10.798" v="2664" actId="26606"/>
          <ac:spMkLst>
            <pc:docMk/>
            <pc:sldMk cId="753985394" sldId="949"/>
            <ac:spMk id="26" creationId="{C411DB08-1669-426B-BBEB-FAD285EF80FE}"/>
          </ac:spMkLst>
        </pc:spChg>
        <pc:spChg chg="add del">
          <ac:chgData name="Eduard Eugenio Duarte Sepulveda" userId="d6757e78-5d77-4033-bc1e-7634d9cd1525" providerId="ADAL" clId="{5DF622DD-7543-4CD8-88CC-75EE5A4EC4CB}" dt="2023-06-04T03:34:10.798" v="2664" actId="26606"/>
          <ac:spMkLst>
            <pc:docMk/>
            <pc:sldMk cId="753985394" sldId="949"/>
            <ac:spMk id="27" creationId="{029E4219-121F-4CD1-AA58-24746CD2923C}"/>
          </ac:spMkLst>
        </pc:spChg>
        <pc:spChg chg="add del">
          <ac:chgData name="Eduard Eugenio Duarte Sepulveda" userId="d6757e78-5d77-4033-bc1e-7634d9cd1525" providerId="ADAL" clId="{5DF622DD-7543-4CD8-88CC-75EE5A4EC4CB}" dt="2023-06-04T03:34:26.076" v="2668" actId="26606"/>
          <ac:spMkLst>
            <pc:docMk/>
            <pc:sldMk cId="753985394" sldId="949"/>
            <ac:spMk id="29" creationId="{8CD2B798-7994-4548-A2BE-4AEF9C1A5FAE}"/>
          </ac:spMkLst>
        </pc:spChg>
        <pc:spChg chg="add del">
          <ac:chgData name="Eduard Eugenio Duarte Sepulveda" userId="d6757e78-5d77-4033-bc1e-7634d9cd1525" providerId="ADAL" clId="{5DF622DD-7543-4CD8-88CC-75EE5A4EC4CB}" dt="2023-06-04T03:34:26.076" v="2668" actId="26606"/>
          <ac:spMkLst>
            <pc:docMk/>
            <pc:sldMk cId="753985394" sldId="949"/>
            <ac:spMk id="30" creationId="{E6162320-3B67-42BB-AF9D-939326E6489E}"/>
          </ac:spMkLst>
        </pc:spChg>
        <pc:spChg chg="add del">
          <ac:chgData name="Eduard Eugenio Duarte Sepulveda" userId="d6757e78-5d77-4033-bc1e-7634d9cd1525" providerId="ADAL" clId="{5DF622DD-7543-4CD8-88CC-75EE5A4EC4CB}" dt="2023-06-04T03:34:26.076" v="2668" actId="26606"/>
          <ac:spMkLst>
            <pc:docMk/>
            <pc:sldMk cId="753985394" sldId="949"/>
            <ac:spMk id="32" creationId="{B8D726A5-7900-41B4-8D49-49B4A2010E7C}"/>
          </ac:spMkLst>
        </pc:spChg>
        <pc:spChg chg="add del">
          <ac:chgData name="Eduard Eugenio Duarte Sepulveda" userId="d6757e78-5d77-4033-bc1e-7634d9cd1525" providerId="ADAL" clId="{5DF622DD-7543-4CD8-88CC-75EE5A4EC4CB}" dt="2023-06-04T03:34:30.297" v="2670" actId="26606"/>
          <ac:spMkLst>
            <pc:docMk/>
            <pc:sldMk cId="753985394" sldId="949"/>
            <ac:spMk id="35" creationId="{3A8EC506-B1DA-46A1-B44D-774E68468E13}"/>
          </ac:spMkLst>
        </pc:spChg>
        <pc:spChg chg="add del">
          <ac:chgData name="Eduard Eugenio Duarte Sepulveda" userId="d6757e78-5d77-4033-bc1e-7634d9cd1525" providerId="ADAL" clId="{5DF622DD-7543-4CD8-88CC-75EE5A4EC4CB}" dt="2023-06-04T03:34:30.297" v="2670" actId="26606"/>
          <ac:spMkLst>
            <pc:docMk/>
            <pc:sldMk cId="753985394" sldId="949"/>
            <ac:spMk id="36" creationId="{BFF30785-305E-45D7-984F-5AA93D3CA561}"/>
          </ac:spMkLst>
        </pc:spChg>
        <pc:spChg chg="add del">
          <ac:chgData name="Eduard Eugenio Duarte Sepulveda" userId="d6757e78-5d77-4033-bc1e-7634d9cd1525" providerId="ADAL" clId="{5DF622DD-7543-4CD8-88CC-75EE5A4EC4CB}" dt="2023-06-04T03:34:30.297" v="2670" actId="26606"/>
          <ac:spMkLst>
            <pc:docMk/>
            <pc:sldMk cId="753985394" sldId="949"/>
            <ac:spMk id="38" creationId="{42DD0C21-8FEE-4C18-8789-CC8ABE206FE6}"/>
          </ac:spMkLst>
        </pc:spChg>
        <pc:spChg chg="add del">
          <ac:chgData name="Eduard Eugenio Duarte Sepulveda" userId="d6757e78-5d77-4033-bc1e-7634d9cd1525" providerId="ADAL" clId="{5DF622DD-7543-4CD8-88CC-75EE5A4EC4CB}" dt="2023-06-04T03:34:30.297" v="2670" actId="26606"/>
          <ac:spMkLst>
            <pc:docMk/>
            <pc:sldMk cId="753985394" sldId="949"/>
            <ac:spMk id="39" creationId="{A4B51757-7607-4CEA-A0EE-3C5BDC2C1CFB}"/>
          </ac:spMkLst>
        </pc:spChg>
        <pc:spChg chg="add del">
          <ac:chgData name="Eduard Eugenio Duarte Sepulveda" userId="d6757e78-5d77-4033-bc1e-7634d9cd1525" providerId="ADAL" clId="{5DF622DD-7543-4CD8-88CC-75EE5A4EC4CB}" dt="2023-06-04T03:34:46.704" v="2672" actId="26606"/>
          <ac:spMkLst>
            <pc:docMk/>
            <pc:sldMk cId="753985394" sldId="949"/>
            <ac:spMk id="42" creationId="{8CD2B798-7994-4548-A2BE-4AEF9C1A5FAE}"/>
          </ac:spMkLst>
        </pc:spChg>
        <pc:spChg chg="add del">
          <ac:chgData name="Eduard Eugenio Duarte Sepulveda" userId="d6757e78-5d77-4033-bc1e-7634d9cd1525" providerId="ADAL" clId="{5DF622DD-7543-4CD8-88CC-75EE5A4EC4CB}" dt="2023-06-04T03:34:46.704" v="2672" actId="26606"/>
          <ac:spMkLst>
            <pc:docMk/>
            <pc:sldMk cId="753985394" sldId="949"/>
            <ac:spMk id="43" creationId="{E6162320-3B67-42BB-AF9D-939326E6489E}"/>
          </ac:spMkLst>
        </pc:spChg>
        <pc:spChg chg="add del">
          <ac:chgData name="Eduard Eugenio Duarte Sepulveda" userId="d6757e78-5d77-4033-bc1e-7634d9cd1525" providerId="ADAL" clId="{5DF622DD-7543-4CD8-88CC-75EE5A4EC4CB}" dt="2023-06-04T03:34:46.704" v="2672" actId="26606"/>
          <ac:spMkLst>
            <pc:docMk/>
            <pc:sldMk cId="753985394" sldId="949"/>
            <ac:spMk id="45" creationId="{2FDF0794-1B86-42B2-B8C7-F60123E638ED}"/>
          </ac:spMkLst>
        </pc:spChg>
        <pc:spChg chg="add del">
          <ac:chgData name="Eduard Eugenio Duarte Sepulveda" userId="d6757e78-5d77-4033-bc1e-7634d9cd1525" providerId="ADAL" clId="{5DF622DD-7543-4CD8-88CC-75EE5A4EC4CB}" dt="2023-06-04T03:34:52.970" v="2674" actId="26606"/>
          <ac:spMkLst>
            <pc:docMk/>
            <pc:sldMk cId="753985394" sldId="949"/>
            <ac:spMk id="48" creationId="{3A8EC506-B1DA-46A1-B44D-774E68468E13}"/>
          </ac:spMkLst>
        </pc:spChg>
        <pc:spChg chg="add del">
          <ac:chgData name="Eduard Eugenio Duarte Sepulveda" userId="d6757e78-5d77-4033-bc1e-7634d9cd1525" providerId="ADAL" clId="{5DF622DD-7543-4CD8-88CC-75EE5A4EC4CB}" dt="2023-06-04T03:34:52.970" v="2674" actId="26606"/>
          <ac:spMkLst>
            <pc:docMk/>
            <pc:sldMk cId="753985394" sldId="949"/>
            <ac:spMk id="49" creationId="{BFF30785-305E-45D7-984F-5AA93D3CA561}"/>
          </ac:spMkLst>
        </pc:spChg>
        <pc:spChg chg="add del">
          <ac:chgData name="Eduard Eugenio Duarte Sepulveda" userId="d6757e78-5d77-4033-bc1e-7634d9cd1525" providerId="ADAL" clId="{5DF622DD-7543-4CD8-88CC-75EE5A4EC4CB}" dt="2023-06-04T03:34:52.970" v="2674" actId="26606"/>
          <ac:spMkLst>
            <pc:docMk/>
            <pc:sldMk cId="753985394" sldId="949"/>
            <ac:spMk id="51" creationId="{CA73784B-AC76-4BAD-93AF-C72D0EDFD715}"/>
          </ac:spMkLst>
        </pc:spChg>
        <pc:spChg chg="add del">
          <ac:chgData name="Eduard Eugenio Duarte Sepulveda" userId="d6757e78-5d77-4033-bc1e-7634d9cd1525" providerId="ADAL" clId="{5DF622DD-7543-4CD8-88CC-75EE5A4EC4CB}" dt="2023-06-04T03:34:55.819" v="2676" actId="26606"/>
          <ac:spMkLst>
            <pc:docMk/>
            <pc:sldMk cId="753985394" sldId="949"/>
            <ac:spMk id="54" creationId="{3A8EC506-B1DA-46A1-B44D-774E68468E13}"/>
          </ac:spMkLst>
        </pc:spChg>
        <pc:spChg chg="add del">
          <ac:chgData name="Eduard Eugenio Duarte Sepulveda" userId="d6757e78-5d77-4033-bc1e-7634d9cd1525" providerId="ADAL" clId="{5DF622DD-7543-4CD8-88CC-75EE5A4EC4CB}" dt="2023-06-04T03:34:55.819" v="2676" actId="26606"/>
          <ac:spMkLst>
            <pc:docMk/>
            <pc:sldMk cId="753985394" sldId="949"/>
            <ac:spMk id="55" creationId="{BFF30785-305E-45D7-984F-5AA93D3CA561}"/>
          </ac:spMkLst>
        </pc:spChg>
        <pc:spChg chg="add del">
          <ac:chgData name="Eduard Eugenio Duarte Sepulveda" userId="d6757e78-5d77-4033-bc1e-7634d9cd1525" providerId="ADAL" clId="{5DF622DD-7543-4CD8-88CC-75EE5A4EC4CB}" dt="2023-06-04T03:34:55.819" v="2676" actId="26606"/>
          <ac:spMkLst>
            <pc:docMk/>
            <pc:sldMk cId="753985394" sldId="949"/>
            <ac:spMk id="57" creationId="{C411DB08-1669-426B-BBEB-FAD285EF80FE}"/>
          </ac:spMkLst>
        </pc:spChg>
        <pc:spChg chg="add del">
          <ac:chgData name="Eduard Eugenio Duarte Sepulveda" userId="d6757e78-5d77-4033-bc1e-7634d9cd1525" providerId="ADAL" clId="{5DF622DD-7543-4CD8-88CC-75EE5A4EC4CB}" dt="2023-06-04T03:34:55.819" v="2676" actId="26606"/>
          <ac:spMkLst>
            <pc:docMk/>
            <pc:sldMk cId="753985394" sldId="949"/>
            <ac:spMk id="58" creationId="{029E4219-121F-4CD1-AA58-24746CD2923C}"/>
          </ac:spMkLst>
        </pc:spChg>
        <pc:spChg chg="add del">
          <ac:chgData name="Eduard Eugenio Duarte Sepulveda" userId="d6757e78-5d77-4033-bc1e-7634d9cd1525" providerId="ADAL" clId="{5DF622DD-7543-4CD8-88CC-75EE5A4EC4CB}" dt="2023-06-04T03:35:00.900" v="2678" actId="26606"/>
          <ac:spMkLst>
            <pc:docMk/>
            <pc:sldMk cId="753985394" sldId="949"/>
            <ac:spMk id="61" creationId="{3A8EC506-B1DA-46A1-B44D-774E68468E13}"/>
          </ac:spMkLst>
        </pc:spChg>
        <pc:spChg chg="add del">
          <ac:chgData name="Eduard Eugenio Duarte Sepulveda" userId="d6757e78-5d77-4033-bc1e-7634d9cd1525" providerId="ADAL" clId="{5DF622DD-7543-4CD8-88CC-75EE5A4EC4CB}" dt="2023-06-04T03:35:00.900" v="2678" actId="26606"/>
          <ac:spMkLst>
            <pc:docMk/>
            <pc:sldMk cId="753985394" sldId="949"/>
            <ac:spMk id="62" creationId="{BFF30785-305E-45D7-984F-5AA93D3CA561}"/>
          </ac:spMkLst>
        </pc:spChg>
        <pc:spChg chg="add del">
          <ac:chgData name="Eduard Eugenio Duarte Sepulveda" userId="d6757e78-5d77-4033-bc1e-7634d9cd1525" providerId="ADAL" clId="{5DF622DD-7543-4CD8-88CC-75EE5A4EC4CB}" dt="2023-06-04T03:35:00.900" v="2678" actId="26606"/>
          <ac:spMkLst>
            <pc:docMk/>
            <pc:sldMk cId="753985394" sldId="949"/>
            <ac:spMk id="64" creationId="{CA73784B-AC76-4BAD-93AF-C72D0EDFD715}"/>
          </ac:spMkLst>
        </pc:spChg>
        <pc:spChg chg="add del">
          <ac:chgData name="Eduard Eugenio Duarte Sepulveda" userId="d6757e78-5d77-4033-bc1e-7634d9cd1525" providerId="ADAL" clId="{5DF622DD-7543-4CD8-88CC-75EE5A4EC4CB}" dt="2023-06-04T03:35:06.467" v="2680" actId="26606"/>
          <ac:spMkLst>
            <pc:docMk/>
            <pc:sldMk cId="753985394" sldId="949"/>
            <ac:spMk id="67" creationId="{8CD2B798-7994-4548-A2BE-4AEF9C1A5FAE}"/>
          </ac:spMkLst>
        </pc:spChg>
        <pc:spChg chg="add del">
          <ac:chgData name="Eduard Eugenio Duarte Sepulveda" userId="d6757e78-5d77-4033-bc1e-7634d9cd1525" providerId="ADAL" clId="{5DF622DD-7543-4CD8-88CC-75EE5A4EC4CB}" dt="2023-06-04T03:35:06.467" v="2680" actId="26606"/>
          <ac:spMkLst>
            <pc:docMk/>
            <pc:sldMk cId="753985394" sldId="949"/>
            <ac:spMk id="68" creationId="{E6162320-3B67-42BB-AF9D-939326E6489E}"/>
          </ac:spMkLst>
        </pc:spChg>
        <pc:spChg chg="add del">
          <ac:chgData name="Eduard Eugenio Duarte Sepulveda" userId="d6757e78-5d77-4033-bc1e-7634d9cd1525" providerId="ADAL" clId="{5DF622DD-7543-4CD8-88CC-75EE5A4EC4CB}" dt="2023-06-04T03:35:06.467" v="2680" actId="26606"/>
          <ac:spMkLst>
            <pc:docMk/>
            <pc:sldMk cId="753985394" sldId="949"/>
            <ac:spMk id="70" creationId="{2FDF0794-1B86-42B2-B8C7-F60123E638ED}"/>
          </ac:spMkLst>
        </pc:spChg>
        <pc:spChg chg="add del">
          <ac:chgData name="Eduard Eugenio Duarte Sepulveda" userId="d6757e78-5d77-4033-bc1e-7634d9cd1525" providerId="ADAL" clId="{5DF622DD-7543-4CD8-88CC-75EE5A4EC4CB}" dt="2023-06-04T03:35:09.088" v="2682" actId="26606"/>
          <ac:spMkLst>
            <pc:docMk/>
            <pc:sldMk cId="753985394" sldId="949"/>
            <ac:spMk id="73" creationId="{3A8EC506-B1DA-46A1-B44D-774E68468E13}"/>
          </ac:spMkLst>
        </pc:spChg>
        <pc:spChg chg="add del">
          <ac:chgData name="Eduard Eugenio Duarte Sepulveda" userId="d6757e78-5d77-4033-bc1e-7634d9cd1525" providerId="ADAL" clId="{5DF622DD-7543-4CD8-88CC-75EE5A4EC4CB}" dt="2023-06-04T03:35:09.088" v="2682" actId="26606"/>
          <ac:spMkLst>
            <pc:docMk/>
            <pc:sldMk cId="753985394" sldId="949"/>
            <ac:spMk id="74" creationId="{BFF30785-305E-45D7-984F-5AA93D3CA561}"/>
          </ac:spMkLst>
        </pc:spChg>
        <pc:spChg chg="add del">
          <ac:chgData name="Eduard Eugenio Duarte Sepulveda" userId="d6757e78-5d77-4033-bc1e-7634d9cd1525" providerId="ADAL" clId="{5DF622DD-7543-4CD8-88CC-75EE5A4EC4CB}" dt="2023-06-04T03:35:09.088" v="2682" actId="26606"/>
          <ac:spMkLst>
            <pc:docMk/>
            <pc:sldMk cId="753985394" sldId="949"/>
            <ac:spMk id="76" creationId="{CA73784B-AC76-4BAD-93AF-C72D0EDFD715}"/>
          </ac:spMkLst>
        </pc:spChg>
        <pc:spChg chg="add">
          <ac:chgData name="Eduard Eugenio Duarte Sepulveda" userId="d6757e78-5d77-4033-bc1e-7634d9cd1525" providerId="ADAL" clId="{5DF622DD-7543-4CD8-88CC-75EE5A4EC4CB}" dt="2023-06-04T03:35:09.103" v="2683" actId="26606"/>
          <ac:spMkLst>
            <pc:docMk/>
            <pc:sldMk cId="753985394" sldId="949"/>
            <ac:spMk id="79" creationId="{3A8EC506-B1DA-46A1-B44D-774E68468E13}"/>
          </ac:spMkLst>
        </pc:spChg>
        <pc:spChg chg="add">
          <ac:chgData name="Eduard Eugenio Duarte Sepulveda" userId="d6757e78-5d77-4033-bc1e-7634d9cd1525" providerId="ADAL" clId="{5DF622DD-7543-4CD8-88CC-75EE5A4EC4CB}" dt="2023-06-04T03:35:09.103" v="2683" actId="26606"/>
          <ac:spMkLst>
            <pc:docMk/>
            <pc:sldMk cId="753985394" sldId="949"/>
            <ac:spMk id="80" creationId="{BFF30785-305E-45D7-984F-5AA93D3CA561}"/>
          </ac:spMkLst>
        </pc:spChg>
        <pc:spChg chg="add">
          <ac:chgData name="Eduard Eugenio Duarte Sepulveda" userId="d6757e78-5d77-4033-bc1e-7634d9cd1525" providerId="ADAL" clId="{5DF622DD-7543-4CD8-88CC-75EE5A4EC4CB}" dt="2023-06-04T03:35:09.103" v="2683" actId="26606"/>
          <ac:spMkLst>
            <pc:docMk/>
            <pc:sldMk cId="753985394" sldId="949"/>
            <ac:spMk id="82" creationId="{C411DB08-1669-426B-BBEB-FAD285EF80FE}"/>
          </ac:spMkLst>
        </pc:spChg>
        <pc:spChg chg="add">
          <ac:chgData name="Eduard Eugenio Duarte Sepulveda" userId="d6757e78-5d77-4033-bc1e-7634d9cd1525" providerId="ADAL" clId="{5DF622DD-7543-4CD8-88CC-75EE5A4EC4CB}" dt="2023-06-04T03:35:09.103" v="2683" actId="26606"/>
          <ac:spMkLst>
            <pc:docMk/>
            <pc:sldMk cId="753985394" sldId="949"/>
            <ac:spMk id="83" creationId="{029E4219-121F-4CD1-AA58-24746CD2923C}"/>
          </ac:spMkLst>
        </pc:spChg>
        <pc:picChg chg="add mod modCrop">
          <ac:chgData name="Eduard Eugenio Duarte Sepulveda" userId="d6757e78-5d77-4033-bc1e-7634d9cd1525" providerId="ADAL" clId="{5DF622DD-7543-4CD8-88CC-75EE5A4EC4CB}" dt="2023-06-04T03:35:09.103" v="2683" actId="26606"/>
          <ac:picMkLst>
            <pc:docMk/>
            <pc:sldMk cId="753985394" sldId="949"/>
            <ac:picMk id="7" creationId="{FE86F372-9136-8DC6-669C-36C794F6CB73}"/>
          </ac:picMkLst>
        </pc:picChg>
        <pc:cxnChg chg="add del">
          <ac:chgData name="Eduard Eugenio Duarte Sepulveda" userId="d6757e78-5d77-4033-bc1e-7634d9cd1525" providerId="ADAL" clId="{5DF622DD-7543-4CD8-88CC-75EE5A4EC4CB}" dt="2023-06-04T03:33:29.269" v="2662" actId="26606"/>
          <ac:cxnSpMkLst>
            <pc:docMk/>
            <pc:sldMk cId="753985394" sldId="949"/>
            <ac:cxnSpMk id="16" creationId="{15E01FA5-D766-43CA-A83D-E7CF3F04E96F}"/>
          </ac:cxnSpMkLst>
        </pc:cxnChg>
        <pc:cxnChg chg="add del">
          <ac:chgData name="Eduard Eugenio Duarte Sepulveda" userId="d6757e78-5d77-4033-bc1e-7634d9cd1525" providerId="ADAL" clId="{5DF622DD-7543-4CD8-88CC-75EE5A4EC4CB}" dt="2023-06-04T03:33:29.269" v="2662" actId="26606"/>
          <ac:cxnSpMkLst>
            <pc:docMk/>
            <pc:sldMk cId="753985394" sldId="949"/>
            <ac:cxnSpMk id="20" creationId="{811DCF04-0C7C-44FC-8246-FC8D736B1A71}"/>
          </ac:cxnSpMkLst>
        </pc:cxnChg>
        <pc:cxnChg chg="add del">
          <ac:chgData name="Eduard Eugenio Duarte Sepulveda" userId="d6757e78-5d77-4033-bc1e-7634d9cd1525" providerId="ADAL" clId="{5DF622DD-7543-4CD8-88CC-75EE5A4EC4CB}" dt="2023-06-04T03:34:10.798" v="2664" actId="26606"/>
          <ac:cxnSpMkLst>
            <pc:docMk/>
            <pc:sldMk cId="753985394" sldId="949"/>
            <ac:cxnSpMk id="22" creationId="{52F50912-06FD-4216-BAD3-21050F59564A}"/>
          </ac:cxnSpMkLst>
        </pc:cxnChg>
        <pc:cxnChg chg="add del">
          <ac:chgData name="Eduard Eugenio Duarte Sepulveda" userId="d6757e78-5d77-4033-bc1e-7634d9cd1525" providerId="ADAL" clId="{5DF622DD-7543-4CD8-88CC-75EE5A4EC4CB}" dt="2023-06-04T03:34:10.798" v="2664" actId="26606"/>
          <ac:cxnSpMkLst>
            <pc:docMk/>
            <pc:sldMk cId="753985394" sldId="949"/>
            <ac:cxnSpMk id="25" creationId="{15E01FA5-D766-43CA-A83D-E7CF3F04E96F}"/>
          </ac:cxnSpMkLst>
        </pc:cxnChg>
        <pc:cxnChg chg="add del">
          <ac:chgData name="Eduard Eugenio Duarte Sepulveda" userId="d6757e78-5d77-4033-bc1e-7634d9cd1525" providerId="ADAL" clId="{5DF622DD-7543-4CD8-88CC-75EE5A4EC4CB}" dt="2023-06-04T03:34:26.076" v="2668" actId="26606"/>
          <ac:cxnSpMkLst>
            <pc:docMk/>
            <pc:sldMk cId="753985394" sldId="949"/>
            <ac:cxnSpMk id="31" creationId="{6722E143-84C1-4F95-937C-78B92D2811CF}"/>
          </ac:cxnSpMkLst>
        </pc:cxnChg>
        <pc:cxnChg chg="add del">
          <ac:chgData name="Eduard Eugenio Duarte Sepulveda" userId="d6757e78-5d77-4033-bc1e-7634d9cd1525" providerId="ADAL" clId="{5DF622DD-7543-4CD8-88CC-75EE5A4EC4CB}" dt="2023-06-04T03:34:26.076" v="2668" actId="26606"/>
          <ac:cxnSpMkLst>
            <pc:docMk/>
            <pc:sldMk cId="753985394" sldId="949"/>
            <ac:cxnSpMk id="33" creationId="{46E49661-E258-450C-8150-A91A6B30D1CD}"/>
          </ac:cxnSpMkLst>
        </pc:cxnChg>
        <pc:cxnChg chg="add del">
          <ac:chgData name="Eduard Eugenio Duarte Sepulveda" userId="d6757e78-5d77-4033-bc1e-7634d9cd1525" providerId="ADAL" clId="{5DF622DD-7543-4CD8-88CC-75EE5A4EC4CB}" dt="2023-06-04T03:34:30.297" v="2670" actId="26606"/>
          <ac:cxnSpMkLst>
            <pc:docMk/>
            <pc:sldMk cId="753985394" sldId="949"/>
            <ac:cxnSpMk id="37" creationId="{15E01FA5-D766-43CA-A83D-E7CF3F04E96F}"/>
          </ac:cxnSpMkLst>
        </pc:cxnChg>
        <pc:cxnChg chg="add del">
          <ac:chgData name="Eduard Eugenio Duarte Sepulveda" userId="d6757e78-5d77-4033-bc1e-7634d9cd1525" providerId="ADAL" clId="{5DF622DD-7543-4CD8-88CC-75EE5A4EC4CB}" dt="2023-06-04T03:34:30.297" v="2670" actId="26606"/>
          <ac:cxnSpMkLst>
            <pc:docMk/>
            <pc:sldMk cId="753985394" sldId="949"/>
            <ac:cxnSpMk id="40" creationId="{FEF39256-F095-41C8-8707-6C1A665E8F2F}"/>
          </ac:cxnSpMkLst>
        </pc:cxnChg>
        <pc:cxnChg chg="add del">
          <ac:chgData name="Eduard Eugenio Duarte Sepulveda" userId="d6757e78-5d77-4033-bc1e-7634d9cd1525" providerId="ADAL" clId="{5DF622DD-7543-4CD8-88CC-75EE5A4EC4CB}" dt="2023-06-04T03:34:46.704" v="2672" actId="26606"/>
          <ac:cxnSpMkLst>
            <pc:docMk/>
            <pc:sldMk cId="753985394" sldId="949"/>
            <ac:cxnSpMk id="44" creationId="{6722E143-84C1-4F95-937C-78B92D2811CF}"/>
          </ac:cxnSpMkLst>
        </pc:cxnChg>
        <pc:cxnChg chg="add del">
          <ac:chgData name="Eduard Eugenio Duarte Sepulveda" userId="d6757e78-5d77-4033-bc1e-7634d9cd1525" providerId="ADAL" clId="{5DF622DD-7543-4CD8-88CC-75EE5A4EC4CB}" dt="2023-06-04T03:34:46.704" v="2672" actId="26606"/>
          <ac:cxnSpMkLst>
            <pc:docMk/>
            <pc:sldMk cId="753985394" sldId="949"/>
            <ac:cxnSpMk id="46" creationId="{96D07482-83A3-4451-943C-B46961082957}"/>
          </ac:cxnSpMkLst>
        </pc:cxnChg>
        <pc:cxnChg chg="add del">
          <ac:chgData name="Eduard Eugenio Duarte Sepulveda" userId="d6757e78-5d77-4033-bc1e-7634d9cd1525" providerId="ADAL" clId="{5DF622DD-7543-4CD8-88CC-75EE5A4EC4CB}" dt="2023-06-04T03:34:52.970" v="2674" actId="26606"/>
          <ac:cxnSpMkLst>
            <pc:docMk/>
            <pc:sldMk cId="753985394" sldId="949"/>
            <ac:cxnSpMk id="50" creationId="{15E01FA5-D766-43CA-A83D-E7CF3F04E96F}"/>
          </ac:cxnSpMkLst>
        </pc:cxnChg>
        <pc:cxnChg chg="add del">
          <ac:chgData name="Eduard Eugenio Duarte Sepulveda" userId="d6757e78-5d77-4033-bc1e-7634d9cd1525" providerId="ADAL" clId="{5DF622DD-7543-4CD8-88CC-75EE5A4EC4CB}" dt="2023-06-04T03:34:52.970" v="2674" actId="26606"/>
          <ac:cxnSpMkLst>
            <pc:docMk/>
            <pc:sldMk cId="753985394" sldId="949"/>
            <ac:cxnSpMk id="52" creationId="{811DCF04-0C7C-44FC-8246-FC8D736B1A71}"/>
          </ac:cxnSpMkLst>
        </pc:cxnChg>
        <pc:cxnChg chg="add del">
          <ac:chgData name="Eduard Eugenio Duarte Sepulveda" userId="d6757e78-5d77-4033-bc1e-7634d9cd1525" providerId="ADAL" clId="{5DF622DD-7543-4CD8-88CC-75EE5A4EC4CB}" dt="2023-06-04T03:34:55.819" v="2676" actId="26606"/>
          <ac:cxnSpMkLst>
            <pc:docMk/>
            <pc:sldMk cId="753985394" sldId="949"/>
            <ac:cxnSpMk id="56" creationId="{15E01FA5-D766-43CA-A83D-E7CF3F04E96F}"/>
          </ac:cxnSpMkLst>
        </pc:cxnChg>
        <pc:cxnChg chg="add del">
          <ac:chgData name="Eduard Eugenio Duarte Sepulveda" userId="d6757e78-5d77-4033-bc1e-7634d9cd1525" providerId="ADAL" clId="{5DF622DD-7543-4CD8-88CC-75EE5A4EC4CB}" dt="2023-06-04T03:34:55.819" v="2676" actId="26606"/>
          <ac:cxnSpMkLst>
            <pc:docMk/>
            <pc:sldMk cId="753985394" sldId="949"/>
            <ac:cxnSpMk id="59" creationId="{52F50912-06FD-4216-BAD3-21050F59564A}"/>
          </ac:cxnSpMkLst>
        </pc:cxnChg>
        <pc:cxnChg chg="add del">
          <ac:chgData name="Eduard Eugenio Duarte Sepulveda" userId="d6757e78-5d77-4033-bc1e-7634d9cd1525" providerId="ADAL" clId="{5DF622DD-7543-4CD8-88CC-75EE5A4EC4CB}" dt="2023-06-04T03:35:00.900" v="2678" actId="26606"/>
          <ac:cxnSpMkLst>
            <pc:docMk/>
            <pc:sldMk cId="753985394" sldId="949"/>
            <ac:cxnSpMk id="63" creationId="{15E01FA5-D766-43CA-A83D-E7CF3F04E96F}"/>
          </ac:cxnSpMkLst>
        </pc:cxnChg>
        <pc:cxnChg chg="add del">
          <ac:chgData name="Eduard Eugenio Duarte Sepulveda" userId="d6757e78-5d77-4033-bc1e-7634d9cd1525" providerId="ADAL" clId="{5DF622DD-7543-4CD8-88CC-75EE5A4EC4CB}" dt="2023-06-04T03:35:00.900" v="2678" actId="26606"/>
          <ac:cxnSpMkLst>
            <pc:docMk/>
            <pc:sldMk cId="753985394" sldId="949"/>
            <ac:cxnSpMk id="65" creationId="{811DCF04-0C7C-44FC-8246-FC8D736B1A71}"/>
          </ac:cxnSpMkLst>
        </pc:cxnChg>
        <pc:cxnChg chg="add del">
          <ac:chgData name="Eduard Eugenio Duarte Sepulveda" userId="d6757e78-5d77-4033-bc1e-7634d9cd1525" providerId="ADAL" clId="{5DF622DD-7543-4CD8-88CC-75EE5A4EC4CB}" dt="2023-06-04T03:35:06.467" v="2680" actId="26606"/>
          <ac:cxnSpMkLst>
            <pc:docMk/>
            <pc:sldMk cId="753985394" sldId="949"/>
            <ac:cxnSpMk id="69" creationId="{6722E143-84C1-4F95-937C-78B92D2811CF}"/>
          </ac:cxnSpMkLst>
        </pc:cxnChg>
        <pc:cxnChg chg="add del">
          <ac:chgData name="Eduard Eugenio Duarte Sepulveda" userId="d6757e78-5d77-4033-bc1e-7634d9cd1525" providerId="ADAL" clId="{5DF622DD-7543-4CD8-88CC-75EE5A4EC4CB}" dt="2023-06-04T03:35:06.467" v="2680" actId="26606"/>
          <ac:cxnSpMkLst>
            <pc:docMk/>
            <pc:sldMk cId="753985394" sldId="949"/>
            <ac:cxnSpMk id="71" creationId="{96D07482-83A3-4451-943C-B46961082957}"/>
          </ac:cxnSpMkLst>
        </pc:cxnChg>
        <pc:cxnChg chg="add del">
          <ac:chgData name="Eduard Eugenio Duarte Sepulveda" userId="d6757e78-5d77-4033-bc1e-7634d9cd1525" providerId="ADAL" clId="{5DF622DD-7543-4CD8-88CC-75EE5A4EC4CB}" dt="2023-06-04T03:35:09.088" v="2682" actId="26606"/>
          <ac:cxnSpMkLst>
            <pc:docMk/>
            <pc:sldMk cId="753985394" sldId="949"/>
            <ac:cxnSpMk id="75" creationId="{15E01FA5-D766-43CA-A83D-E7CF3F04E96F}"/>
          </ac:cxnSpMkLst>
        </pc:cxnChg>
        <pc:cxnChg chg="add del">
          <ac:chgData name="Eduard Eugenio Duarte Sepulveda" userId="d6757e78-5d77-4033-bc1e-7634d9cd1525" providerId="ADAL" clId="{5DF622DD-7543-4CD8-88CC-75EE5A4EC4CB}" dt="2023-06-04T03:35:09.088" v="2682" actId="26606"/>
          <ac:cxnSpMkLst>
            <pc:docMk/>
            <pc:sldMk cId="753985394" sldId="949"/>
            <ac:cxnSpMk id="77" creationId="{811DCF04-0C7C-44FC-8246-FC8D736B1A71}"/>
          </ac:cxnSpMkLst>
        </pc:cxnChg>
        <pc:cxnChg chg="add">
          <ac:chgData name="Eduard Eugenio Duarte Sepulveda" userId="d6757e78-5d77-4033-bc1e-7634d9cd1525" providerId="ADAL" clId="{5DF622DD-7543-4CD8-88CC-75EE5A4EC4CB}" dt="2023-06-04T03:35:09.103" v="2683" actId="26606"/>
          <ac:cxnSpMkLst>
            <pc:docMk/>
            <pc:sldMk cId="753985394" sldId="949"/>
            <ac:cxnSpMk id="81" creationId="{15E01FA5-D766-43CA-A83D-E7CF3F04E96F}"/>
          </ac:cxnSpMkLst>
        </pc:cxnChg>
        <pc:cxnChg chg="add">
          <ac:chgData name="Eduard Eugenio Duarte Sepulveda" userId="d6757e78-5d77-4033-bc1e-7634d9cd1525" providerId="ADAL" clId="{5DF622DD-7543-4CD8-88CC-75EE5A4EC4CB}" dt="2023-06-04T03:35:09.103" v="2683" actId="26606"/>
          <ac:cxnSpMkLst>
            <pc:docMk/>
            <pc:sldMk cId="753985394" sldId="949"/>
            <ac:cxnSpMk id="84" creationId="{52F50912-06FD-4216-BAD3-21050F59564A}"/>
          </ac:cxnSpMkLst>
        </pc:cxnChg>
      </pc:sldChg>
      <pc:sldChg chg="addSp delSp modSp add mod">
        <pc:chgData name="Eduard Eugenio Duarte Sepulveda" userId="d6757e78-5d77-4033-bc1e-7634d9cd1525" providerId="ADAL" clId="{5DF622DD-7543-4CD8-88CC-75EE5A4EC4CB}" dt="2023-06-04T04:04:52.634" v="4246" actId="1076"/>
        <pc:sldMkLst>
          <pc:docMk/>
          <pc:sldMk cId="744811218" sldId="950"/>
        </pc:sldMkLst>
        <pc:spChg chg="add del mod">
          <ac:chgData name="Eduard Eugenio Duarte Sepulveda" userId="d6757e78-5d77-4033-bc1e-7634d9cd1525" providerId="ADAL" clId="{5DF622DD-7543-4CD8-88CC-75EE5A4EC4CB}" dt="2023-06-04T04:04:47.179" v="4245" actId="478"/>
          <ac:spMkLst>
            <pc:docMk/>
            <pc:sldMk cId="744811218" sldId="950"/>
            <ac:spMk id="3" creationId="{1FE8AE95-B48C-2556-C81D-61F10E9FC6A9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9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54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55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58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59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60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61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62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63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3:59:18.982" v="3932" actId="20577"/>
          <ac:spMkLst>
            <pc:docMk/>
            <pc:sldMk cId="744811218" sldId="950"/>
            <ac:spMk id="67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0:24.174" v="4002" actId="313"/>
          <ac:spMkLst>
            <pc:docMk/>
            <pc:sldMk cId="744811218" sldId="950"/>
            <ac:spMk id="113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139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140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0:51.607" v="4021" actId="20577"/>
          <ac:spMkLst>
            <pc:docMk/>
            <pc:sldMk cId="744811218" sldId="950"/>
            <ac:spMk id="142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1:33.391" v="4151" actId="20577"/>
          <ac:spMkLst>
            <pc:docMk/>
            <pc:sldMk cId="744811218" sldId="950"/>
            <ac:spMk id="143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145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146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1:46.335" v="4167" actId="20577"/>
          <ac:spMkLst>
            <pc:docMk/>
            <pc:sldMk cId="744811218" sldId="950"/>
            <ac:spMk id="151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2:47.186" v="4230" actId="20577"/>
          <ac:spMkLst>
            <pc:docMk/>
            <pc:sldMk cId="744811218" sldId="950"/>
            <ac:spMk id="152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154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04:52.634" v="4246" actId="1076"/>
          <ac:spMkLst>
            <pc:docMk/>
            <pc:sldMk cId="744811218" sldId="950"/>
            <ac:spMk id="155" creationId="{00000000-0000-0000-0000-000000000000}"/>
          </ac:spMkLst>
        </pc:spChg>
        <pc:grpChg chg="del">
          <ac:chgData name="Eduard Eugenio Duarte Sepulveda" userId="d6757e78-5d77-4033-bc1e-7634d9cd1525" providerId="ADAL" clId="{5DF622DD-7543-4CD8-88CC-75EE5A4EC4CB}" dt="2023-06-04T03:58:52.941" v="3921" actId="478"/>
          <ac:grpSpMkLst>
            <pc:docMk/>
            <pc:sldMk cId="744811218" sldId="950"/>
            <ac:grpSpMk id="4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4:42.673" v="4244" actId="478"/>
          <ac:grpSpMkLst>
            <pc:docMk/>
            <pc:sldMk cId="744811218" sldId="950"/>
            <ac:grpSpMk id="5" creationId="{00000000-0000-0000-0000-000000000000}"/>
          </ac:grpSpMkLst>
        </pc:grpChg>
        <pc:grpChg chg="mod">
          <ac:chgData name="Eduard Eugenio Duarte Sepulveda" userId="d6757e78-5d77-4033-bc1e-7634d9cd1525" providerId="ADAL" clId="{5DF622DD-7543-4CD8-88CC-75EE5A4EC4CB}" dt="2023-06-04T04:04:52.634" v="4246" actId="1076"/>
          <ac:grpSpMkLst>
            <pc:docMk/>
            <pc:sldMk cId="744811218" sldId="950"/>
            <ac:grpSpMk id="6" creationId="{00000000-0000-0000-0000-000000000000}"/>
          </ac:grpSpMkLst>
        </pc:grpChg>
        <pc:grpChg chg="mod">
          <ac:chgData name="Eduard Eugenio Duarte Sepulveda" userId="d6757e78-5d77-4033-bc1e-7634d9cd1525" providerId="ADAL" clId="{5DF622DD-7543-4CD8-88CC-75EE5A4EC4CB}" dt="2023-06-04T04:04:52.634" v="4246" actId="1076"/>
          <ac:grpSpMkLst>
            <pc:docMk/>
            <pc:sldMk cId="744811218" sldId="950"/>
            <ac:grpSpMk id="7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4:42.673" v="4244" actId="478"/>
          <ac:grpSpMkLst>
            <pc:docMk/>
            <pc:sldMk cId="744811218" sldId="950"/>
            <ac:grpSpMk id="90" creationId="{00000000-0000-0000-0000-000000000000}"/>
          </ac:grpSpMkLst>
        </pc:grpChg>
        <pc:grpChg chg="mod">
          <ac:chgData name="Eduard Eugenio Duarte Sepulveda" userId="d6757e78-5d77-4033-bc1e-7634d9cd1525" providerId="ADAL" clId="{5DF622DD-7543-4CD8-88CC-75EE5A4EC4CB}" dt="2023-06-04T04:04:52.634" v="4246" actId="1076"/>
          <ac:grpSpMkLst>
            <pc:docMk/>
            <pc:sldMk cId="744811218" sldId="950"/>
            <ac:grpSpMk id="138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4:42.673" v="4244" actId="478"/>
          <ac:grpSpMkLst>
            <pc:docMk/>
            <pc:sldMk cId="744811218" sldId="950"/>
            <ac:grpSpMk id="141" creationId="{00000000-0000-0000-0000-000000000000}"/>
          </ac:grpSpMkLst>
        </pc:grpChg>
        <pc:grpChg chg="mod">
          <ac:chgData name="Eduard Eugenio Duarte Sepulveda" userId="d6757e78-5d77-4033-bc1e-7634d9cd1525" providerId="ADAL" clId="{5DF622DD-7543-4CD8-88CC-75EE5A4EC4CB}" dt="2023-06-04T04:04:52.634" v="4246" actId="1076"/>
          <ac:grpSpMkLst>
            <pc:docMk/>
            <pc:sldMk cId="744811218" sldId="950"/>
            <ac:grpSpMk id="144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3:59:01.568" v="3922" actId="478"/>
          <ac:grpSpMkLst>
            <pc:docMk/>
            <pc:sldMk cId="744811218" sldId="950"/>
            <ac:grpSpMk id="147" creationId="{00000000-0000-0000-0000-000000000000}"/>
          </ac:grpSpMkLst>
        </pc:grpChg>
        <pc:grpChg chg="del">
          <ac:chgData name="Eduard Eugenio Duarte Sepulveda" userId="d6757e78-5d77-4033-bc1e-7634d9cd1525" providerId="ADAL" clId="{5DF622DD-7543-4CD8-88CC-75EE5A4EC4CB}" dt="2023-06-04T04:04:42.673" v="4244" actId="478"/>
          <ac:grpSpMkLst>
            <pc:docMk/>
            <pc:sldMk cId="744811218" sldId="950"/>
            <ac:grpSpMk id="150" creationId="{00000000-0000-0000-0000-000000000000}"/>
          </ac:grpSpMkLst>
        </pc:grpChg>
        <pc:grpChg chg="mod">
          <ac:chgData name="Eduard Eugenio Duarte Sepulveda" userId="d6757e78-5d77-4033-bc1e-7634d9cd1525" providerId="ADAL" clId="{5DF622DD-7543-4CD8-88CC-75EE5A4EC4CB}" dt="2023-06-04T04:04:52.634" v="4246" actId="1076"/>
          <ac:grpSpMkLst>
            <pc:docMk/>
            <pc:sldMk cId="744811218" sldId="950"/>
            <ac:grpSpMk id="153" creationId="{00000000-0000-0000-0000-000000000000}"/>
          </ac:grpSpMkLst>
        </pc:grpChg>
        <pc:picChg chg="add del mod">
          <ac:chgData name="Eduard Eugenio Duarte Sepulveda" userId="d6757e78-5d77-4033-bc1e-7634d9cd1525" providerId="ADAL" clId="{5DF622DD-7543-4CD8-88CC-75EE5A4EC4CB}" dt="2023-06-04T04:04:42.673" v="4244" actId="478"/>
          <ac:picMkLst>
            <pc:docMk/>
            <pc:sldMk cId="744811218" sldId="950"/>
            <ac:picMk id="10" creationId="{D30094C3-4CFA-9E75-431A-4EA4E57B6AD9}"/>
          </ac:picMkLst>
        </pc:picChg>
      </pc:sldChg>
      <pc:sldChg chg="add">
        <pc:chgData name="Eduard Eugenio Duarte Sepulveda" userId="d6757e78-5d77-4033-bc1e-7634d9cd1525" providerId="ADAL" clId="{5DF622DD-7543-4CD8-88CC-75EE5A4EC4CB}" dt="2023-06-04T04:04:36.491" v="4243" actId="2890"/>
        <pc:sldMkLst>
          <pc:docMk/>
          <pc:sldMk cId="319641009" sldId="951"/>
        </pc:sldMkLst>
      </pc:sldChg>
      <pc:sldChg chg="addSp delSp add del mod">
        <pc:chgData name="Eduard Eugenio Duarte Sepulveda" userId="d6757e78-5d77-4033-bc1e-7634d9cd1525" providerId="ADAL" clId="{5DF622DD-7543-4CD8-88CC-75EE5A4EC4CB}" dt="2023-06-04T04:04:27.677" v="4240" actId="2890"/>
        <pc:sldMkLst>
          <pc:docMk/>
          <pc:sldMk cId="447368092" sldId="951"/>
        </pc:sldMkLst>
        <pc:spChg chg="add del">
          <ac:chgData name="Eduard Eugenio Duarte Sepulveda" userId="d6757e78-5d77-4033-bc1e-7634d9cd1525" providerId="ADAL" clId="{5DF622DD-7543-4CD8-88CC-75EE5A4EC4CB}" dt="2023-06-04T04:04:26.758" v="4237" actId="478"/>
          <ac:spMkLst>
            <pc:docMk/>
            <pc:sldMk cId="447368092" sldId="951"/>
            <ac:spMk id="9" creationId="{00000000-0000-0000-0000-000000000000}"/>
          </ac:spMkLst>
        </pc:spChg>
        <pc:spChg chg="add del">
          <ac:chgData name="Eduard Eugenio Duarte Sepulveda" userId="d6757e78-5d77-4033-bc1e-7634d9cd1525" providerId="ADAL" clId="{5DF622DD-7543-4CD8-88CC-75EE5A4EC4CB}" dt="2023-06-04T04:04:27.329" v="4239" actId="478"/>
          <ac:spMkLst>
            <pc:docMk/>
            <pc:sldMk cId="447368092" sldId="951"/>
            <ac:spMk id="59" creationId="{00000000-0000-0000-0000-000000000000}"/>
          </ac:spMkLst>
        </pc:spChg>
        <pc:spChg chg="add del">
          <ac:chgData name="Eduard Eugenio Duarte Sepulveda" userId="d6757e78-5d77-4033-bc1e-7634d9cd1525" providerId="ADAL" clId="{5DF622DD-7543-4CD8-88CC-75EE5A4EC4CB}" dt="2023-06-04T04:04:27.329" v="4239" actId="478"/>
          <ac:spMkLst>
            <pc:docMk/>
            <pc:sldMk cId="447368092" sldId="951"/>
            <ac:spMk id="60" creationId="{00000000-0000-0000-0000-000000000000}"/>
          </ac:spMkLst>
        </pc:spChg>
        <pc:grpChg chg="add del">
          <ac:chgData name="Eduard Eugenio Duarte Sepulveda" userId="d6757e78-5d77-4033-bc1e-7634d9cd1525" providerId="ADAL" clId="{5DF622DD-7543-4CD8-88CC-75EE5A4EC4CB}" dt="2023-06-04T04:04:27.124" v="4238" actId="478"/>
          <ac:grpSpMkLst>
            <pc:docMk/>
            <pc:sldMk cId="447368092" sldId="951"/>
            <ac:grpSpMk id="6" creationId="{00000000-0000-0000-0000-000000000000}"/>
          </ac:grpSpMkLst>
        </pc:grpChg>
        <pc:grpChg chg="add del">
          <ac:chgData name="Eduard Eugenio Duarte Sepulveda" userId="d6757e78-5d77-4033-bc1e-7634d9cd1525" providerId="ADAL" clId="{5DF622DD-7543-4CD8-88CC-75EE5A4EC4CB}" dt="2023-06-04T04:04:27.329" v="4239" actId="478"/>
          <ac:grpSpMkLst>
            <pc:docMk/>
            <pc:sldMk cId="447368092" sldId="951"/>
            <ac:grpSpMk id="7" creationId="{00000000-0000-0000-0000-000000000000}"/>
          </ac:grpSpMkLst>
        </pc:grpChg>
        <pc:grpChg chg="add del">
          <ac:chgData name="Eduard Eugenio Duarte Sepulveda" userId="d6757e78-5d77-4033-bc1e-7634d9cd1525" providerId="ADAL" clId="{5DF622DD-7543-4CD8-88CC-75EE5A4EC4CB}" dt="2023-06-04T04:04:27.124" v="4238" actId="478"/>
          <ac:grpSpMkLst>
            <pc:docMk/>
            <pc:sldMk cId="447368092" sldId="951"/>
            <ac:grpSpMk id="138" creationId="{00000000-0000-0000-0000-000000000000}"/>
          </ac:grpSpMkLst>
        </pc:grpChg>
        <pc:grpChg chg="add del">
          <ac:chgData name="Eduard Eugenio Duarte Sepulveda" userId="d6757e78-5d77-4033-bc1e-7634d9cd1525" providerId="ADAL" clId="{5DF622DD-7543-4CD8-88CC-75EE5A4EC4CB}" dt="2023-06-04T04:04:27.329" v="4239" actId="478"/>
          <ac:grpSpMkLst>
            <pc:docMk/>
            <pc:sldMk cId="447368092" sldId="951"/>
            <ac:grpSpMk id="144" creationId="{00000000-0000-0000-0000-000000000000}"/>
          </ac:grpSpMkLst>
        </pc:grpChg>
        <pc:grpChg chg="add del">
          <ac:chgData name="Eduard Eugenio Duarte Sepulveda" userId="d6757e78-5d77-4033-bc1e-7634d9cd1525" providerId="ADAL" clId="{5DF622DD-7543-4CD8-88CC-75EE5A4EC4CB}" dt="2023-06-04T04:04:26.758" v="4237" actId="478"/>
          <ac:grpSpMkLst>
            <pc:docMk/>
            <pc:sldMk cId="447368092" sldId="951"/>
            <ac:grpSpMk id="153" creationId="{00000000-0000-0000-0000-000000000000}"/>
          </ac:grpSpMkLst>
        </pc:grpChg>
      </pc:sldChg>
      <pc:sldChg chg="addSp delSp modSp add mod">
        <pc:chgData name="Eduard Eugenio Duarte Sepulveda" userId="d6757e78-5d77-4033-bc1e-7634d9cd1525" providerId="ADAL" clId="{5DF622DD-7543-4CD8-88CC-75EE5A4EC4CB}" dt="2023-06-04T04:56:37.504" v="5276" actId="1076"/>
        <pc:sldMkLst>
          <pc:docMk/>
          <pc:sldMk cId="921819595" sldId="952"/>
        </pc:sldMkLst>
        <pc:spChg chg="del">
          <ac:chgData name="Eduard Eugenio Duarte Sepulveda" userId="d6757e78-5d77-4033-bc1e-7634d9cd1525" providerId="ADAL" clId="{5DF622DD-7543-4CD8-88CC-75EE5A4EC4CB}" dt="2023-06-04T04:53:34.538" v="5168" actId="12084"/>
          <ac:spMkLst>
            <pc:docMk/>
            <pc:sldMk cId="921819595" sldId="952"/>
            <ac:spMk id="3" creationId="{6E485174-D231-DDF4-E420-489CBA97B7D1}"/>
          </ac:spMkLst>
        </pc:spChg>
        <pc:spChg chg="del mod">
          <ac:chgData name="Eduard Eugenio Duarte Sepulveda" userId="d6757e78-5d77-4033-bc1e-7634d9cd1525" providerId="ADAL" clId="{5DF622DD-7543-4CD8-88CC-75EE5A4EC4CB}" dt="2023-06-04T04:55:20.293" v="5267" actId="478"/>
          <ac:spMkLst>
            <pc:docMk/>
            <pc:sldMk cId="921819595" sldId="952"/>
            <ac:spMk id="4" creationId="{23BA2C35-8F5D-A665-52F7-EB2F7C25E268}"/>
          </ac:spMkLst>
        </pc:spChg>
        <pc:spChg chg="del">
          <ac:chgData name="Eduard Eugenio Duarte Sepulveda" userId="d6757e78-5d77-4033-bc1e-7634d9cd1525" providerId="ADAL" clId="{5DF622DD-7543-4CD8-88CC-75EE5A4EC4CB}" dt="2023-06-04T04:50:41.751" v="5068" actId="12084"/>
          <ac:spMkLst>
            <pc:docMk/>
            <pc:sldMk cId="921819595" sldId="952"/>
            <ac:spMk id="5" creationId="{B4DA0BC2-2ED4-2401-1814-E5BF337E951E}"/>
          </ac:spMkLst>
        </pc:spChg>
        <pc:spChg chg="del mod">
          <ac:chgData name="Eduard Eugenio Duarte Sepulveda" userId="d6757e78-5d77-4033-bc1e-7634d9cd1525" providerId="ADAL" clId="{5DF622DD-7543-4CD8-88CC-75EE5A4EC4CB}" dt="2023-06-04T04:52:54.207" v="5167" actId="478"/>
          <ac:spMkLst>
            <pc:docMk/>
            <pc:sldMk cId="921819595" sldId="952"/>
            <ac:spMk id="6" creationId="{D7BB98E8-447A-5855-8038-1D5EEACFDC30}"/>
          </ac:spMkLst>
        </pc:spChg>
        <pc:spChg chg="del mod">
          <ac:chgData name="Eduard Eugenio Duarte Sepulveda" userId="d6757e78-5d77-4033-bc1e-7634d9cd1525" providerId="ADAL" clId="{5DF622DD-7543-4CD8-88CC-75EE5A4EC4CB}" dt="2023-06-04T04:55:16.803" v="5266" actId="478"/>
          <ac:spMkLst>
            <pc:docMk/>
            <pc:sldMk cId="921819595" sldId="952"/>
            <ac:spMk id="7" creationId="{A5ACC371-44F2-27BD-11D2-970B78B7C7C5}"/>
          </ac:spMkLst>
        </pc:spChg>
        <pc:spChg chg="del mod">
          <ac:chgData name="Eduard Eugenio Duarte Sepulveda" userId="d6757e78-5d77-4033-bc1e-7634d9cd1525" providerId="ADAL" clId="{5DF622DD-7543-4CD8-88CC-75EE5A4EC4CB}" dt="2023-06-04T04:55:24.989" v="5268" actId="478"/>
          <ac:spMkLst>
            <pc:docMk/>
            <pc:sldMk cId="921819595" sldId="952"/>
            <ac:spMk id="8" creationId="{0A6B45B3-E022-0424-EE93-BD4B1D076A4E}"/>
          </ac:spMkLst>
        </pc:spChg>
        <pc:spChg chg="add mod">
          <ac:chgData name="Eduard Eugenio Duarte Sepulveda" userId="d6757e78-5d77-4033-bc1e-7634d9cd1525" providerId="ADAL" clId="{5DF622DD-7543-4CD8-88CC-75EE5A4EC4CB}" dt="2023-06-04T04:56:37.504" v="5276" actId="1076"/>
          <ac:spMkLst>
            <pc:docMk/>
            <pc:sldMk cId="921819595" sldId="952"/>
            <ac:spMk id="12" creationId="{BB31D6B1-017E-DE90-B336-F8684FFC6A77}"/>
          </ac:spMkLst>
        </pc:spChg>
        <pc:graphicFrameChg chg="add mod">
          <ac:chgData name="Eduard Eugenio Duarte Sepulveda" userId="d6757e78-5d77-4033-bc1e-7634d9cd1525" providerId="ADAL" clId="{5DF622DD-7543-4CD8-88CC-75EE5A4EC4CB}" dt="2023-06-04T04:55:46.395" v="5272" actId="1076"/>
          <ac:graphicFrameMkLst>
            <pc:docMk/>
            <pc:sldMk cId="921819595" sldId="952"/>
            <ac:graphicFrameMk id="10" creationId="{4B197A4A-617D-2089-B32E-DC4ED442C2A4}"/>
          </ac:graphicFrameMkLst>
        </pc:graphicFrameChg>
        <pc:graphicFrameChg chg="add mod">
          <ac:chgData name="Eduard Eugenio Duarte Sepulveda" userId="d6757e78-5d77-4033-bc1e-7634d9cd1525" providerId="ADAL" clId="{5DF622DD-7543-4CD8-88CC-75EE5A4EC4CB}" dt="2023-06-04T04:55:37.056" v="5271"/>
          <ac:graphicFrameMkLst>
            <pc:docMk/>
            <pc:sldMk cId="921819595" sldId="952"/>
            <ac:graphicFrameMk id="11" creationId="{C5979CF0-959F-22DC-5392-4636E611706D}"/>
          </ac:graphicFrameMkLst>
        </pc:graphicFrameChg>
      </pc:sldChg>
      <pc:sldChg chg="addSp delSp modSp add mod">
        <pc:chgData name="Eduard Eugenio Duarte Sepulveda" userId="d6757e78-5d77-4033-bc1e-7634d9cd1525" providerId="ADAL" clId="{5DF622DD-7543-4CD8-88CC-75EE5A4EC4CB}" dt="2023-06-04T05:03:13.697" v="5417" actId="1076"/>
        <pc:sldMkLst>
          <pc:docMk/>
          <pc:sldMk cId="2004194361" sldId="953"/>
        </pc:sldMkLst>
        <pc:spChg chg="mod">
          <ac:chgData name="Eduard Eugenio Duarte Sepulveda" userId="d6757e78-5d77-4033-bc1e-7634d9cd1525" providerId="ADAL" clId="{5DF622DD-7543-4CD8-88CC-75EE5A4EC4CB}" dt="2023-06-04T04:57:23.908" v="5293" actId="20577"/>
          <ac:spMkLst>
            <pc:docMk/>
            <pc:sldMk cId="2004194361" sldId="953"/>
            <ac:spMk id="2" creationId="{00000000-0000-0000-0000-000000000000}"/>
          </ac:spMkLst>
        </pc:spChg>
        <pc:spChg chg="del mod">
          <ac:chgData name="Eduard Eugenio Duarte Sepulveda" userId="d6757e78-5d77-4033-bc1e-7634d9cd1525" providerId="ADAL" clId="{5DF622DD-7543-4CD8-88CC-75EE5A4EC4CB}" dt="2023-06-04T04:59:26.507" v="5336" actId="478"/>
          <ac:spMkLst>
            <pc:docMk/>
            <pc:sldMk cId="2004194361" sldId="953"/>
            <ac:spMk id="3" creationId="{6E485174-D231-DDF4-E420-489CBA97B7D1}"/>
          </ac:spMkLst>
        </pc:spChg>
        <pc:spChg chg="del">
          <ac:chgData name="Eduard Eugenio Duarte Sepulveda" userId="d6757e78-5d77-4033-bc1e-7634d9cd1525" providerId="ADAL" clId="{5DF622DD-7543-4CD8-88CC-75EE5A4EC4CB}" dt="2023-06-04T05:01:17.854" v="5401" actId="478"/>
          <ac:spMkLst>
            <pc:docMk/>
            <pc:sldMk cId="2004194361" sldId="953"/>
            <ac:spMk id="4" creationId="{23BA2C35-8F5D-A665-52F7-EB2F7C25E268}"/>
          </ac:spMkLst>
        </pc:spChg>
        <pc:spChg chg="del">
          <ac:chgData name="Eduard Eugenio Duarte Sepulveda" userId="d6757e78-5d77-4033-bc1e-7634d9cd1525" providerId="ADAL" clId="{5DF622DD-7543-4CD8-88CC-75EE5A4EC4CB}" dt="2023-06-04T05:01:17.854" v="5401" actId="478"/>
          <ac:spMkLst>
            <pc:docMk/>
            <pc:sldMk cId="2004194361" sldId="953"/>
            <ac:spMk id="5" creationId="{B4DA0BC2-2ED4-2401-1814-E5BF337E951E}"/>
          </ac:spMkLst>
        </pc:spChg>
        <pc:spChg chg="del">
          <ac:chgData name="Eduard Eugenio Duarte Sepulveda" userId="d6757e78-5d77-4033-bc1e-7634d9cd1525" providerId="ADAL" clId="{5DF622DD-7543-4CD8-88CC-75EE5A4EC4CB}" dt="2023-06-04T04:59:30.437" v="5337" actId="478"/>
          <ac:spMkLst>
            <pc:docMk/>
            <pc:sldMk cId="2004194361" sldId="953"/>
            <ac:spMk id="6" creationId="{D7BB98E8-447A-5855-8038-1D5EEACFDC30}"/>
          </ac:spMkLst>
        </pc:spChg>
        <pc:spChg chg="del">
          <ac:chgData name="Eduard Eugenio Duarte Sepulveda" userId="d6757e78-5d77-4033-bc1e-7634d9cd1525" providerId="ADAL" clId="{5DF622DD-7543-4CD8-88CC-75EE5A4EC4CB}" dt="2023-06-04T05:01:17.854" v="5401" actId="478"/>
          <ac:spMkLst>
            <pc:docMk/>
            <pc:sldMk cId="2004194361" sldId="953"/>
            <ac:spMk id="7" creationId="{A5ACC371-44F2-27BD-11D2-970B78B7C7C5}"/>
          </ac:spMkLst>
        </pc:spChg>
        <pc:spChg chg="del mod">
          <ac:chgData name="Eduard Eugenio Duarte Sepulveda" userId="d6757e78-5d77-4033-bc1e-7634d9cd1525" providerId="ADAL" clId="{5DF622DD-7543-4CD8-88CC-75EE5A4EC4CB}" dt="2023-06-04T04:59:52.102" v="5339" actId="12084"/>
          <ac:spMkLst>
            <pc:docMk/>
            <pc:sldMk cId="2004194361" sldId="953"/>
            <ac:spMk id="8" creationId="{0A6B45B3-E022-0424-EE93-BD4B1D076A4E}"/>
          </ac:spMkLst>
        </pc:spChg>
        <pc:spChg chg="add mod">
          <ac:chgData name="Eduard Eugenio Duarte Sepulveda" userId="d6757e78-5d77-4033-bc1e-7634d9cd1525" providerId="ADAL" clId="{5DF622DD-7543-4CD8-88CC-75EE5A4EC4CB}" dt="2023-06-04T04:57:45.669" v="5296" actId="1076"/>
          <ac:spMkLst>
            <pc:docMk/>
            <pc:sldMk cId="2004194361" sldId="953"/>
            <ac:spMk id="10" creationId="{6034F087-B0FD-C5D4-140F-64EEA3AC2FEC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12" creationId="{E8DB0B8F-FE08-019C-6A66-0A4DFF6B9968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13" creationId="{C044DC85-92B7-7D90-90E5-D830D86F15C6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14" creationId="{FB14B17D-3ED3-1D72-4C13-A448CBAD1F9F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15" creationId="{8A83FE4C-83E8-6DF1-93F5-5A15B66DA700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16" creationId="{BB935475-E7C5-B983-BE1E-563DAF481A73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17" creationId="{B0AF920C-86BA-CAFA-37B2-E5C66FDB942B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18" creationId="{88946654-52F8-6365-FB7F-8B7A6CD2D072}"/>
          </ac:spMkLst>
        </pc:spChg>
        <pc:spChg chg="mod">
          <ac:chgData name="Eduard Eugenio Duarte Sepulveda" userId="d6757e78-5d77-4033-bc1e-7634d9cd1525" providerId="ADAL" clId="{5DF622DD-7543-4CD8-88CC-75EE5A4EC4CB}" dt="2023-06-04T04:58:01.464" v="5329" actId="20577"/>
          <ac:spMkLst>
            <pc:docMk/>
            <pc:sldMk cId="2004194361" sldId="953"/>
            <ac:spMk id="19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20" creationId="{9169EC68-CAC1-6C99-FCE1-DED5017D65F6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21" creationId="{294ED8EB-8360-AE4F-7529-204BDE09F632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22" creationId="{064FF1F7-F29F-422A-1A0C-EE9BAA2C2B4C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23" creationId="{E67ECBCE-4FD1-0560-207C-5BCEF10D411D}"/>
          </ac:spMkLst>
        </pc:spChg>
        <pc:spChg chg="mod">
          <ac:chgData name="Eduard Eugenio Duarte Sepulveda" userId="d6757e78-5d77-4033-bc1e-7634d9cd1525" providerId="ADAL" clId="{5DF622DD-7543-4CD8-88CC-75EE5A4EC4CB}" dt="2023-06-04T04:58:40.643" v="5330"/>
          <ac:spMkLst>
            <pc:docMk/>
            <pc:sldMk cId="2004194361" sldId="953"/>
            <ac:spMk id="24" creationId="{8D47E3CF-6447-38BD-6EC5-ABBED9524CE3}"/>
          </ac:spMkLst>
        </pc:spChg>
        <pc:grpChg chg="add del mod">
          <ac:chgData name="Eduard Eugenio Duarte Sepulveda" userId="d6757e78-5d77-4033-bc1e-7634d9cd1525" providerId="ADAL" clId="{5DF622DD-7543-4CD8-88CC-75EE5A4EC4CB}" dt="2023-06-04T05:01:20.796" v="5403" actId="478"/>
          <ac:grpSpMkLst>
            <pc:docMk/>
            <pc:sldMk cId="2004194361" sldId="953"/>
            <ac:grpSpMk id="11" creationId="{45DFF13F-6416-08AC-DD56-0A5A3CBAC8BF}"/>
          </ac:grpSpMkLst>
        </pc:grpChg>
        <pc:graphicFrameChg chg="add mod">
          <ac:chgData name="Eduard Eugenio Duarte Sepulveda" userId="d6757e78-5d77-4033-bc1e-7634d9cd1525" providerId="ADAL" clId="{5DF622DD-7543-4CD8-88CC-75EE5A4EC4CB}" dt="2023-06-04T05:02:18.271" v="5413"/>
          <ac:graphicFrameMkLst>
            <pc:docMk/>
            <pc:sldMk cId="2004194361" sldId="953"/>
            <ac:graphicFrameMk id="25" creationId="{EF390CC7-1F68-F4F4-9FC3-A541C29B4E5D}"/>
          </ac:graphicFrameMkLst>
        </pc:graphicFrameChg>
        <pc:picChg chg="add mod">
          <ac:chgData name="Eduard Eugenio Duarte Sepulveda" userId="d6757e78-5d77-4033-bc1e-7634d9cd1525" providerId="ADAL" clId="{5DF622DD-7543-4CD8-88CC-75EE5A4EC4CB}" dt="2023-06-04T05:03:13.697" v="5417" actId="1076"/>
          <ac:picMkLst>
            <pc:docMk/>
            <pc:sldMk cId="2004194361" sldId="953"/>
            <ac:picMk id="27" creationId="{EBAFFB3C-DCC8-93B5-3BD9-2F1EE0693097}"/>
          </ac:picMkLst>
        </pc:picChg>
      </pc:sldChg>
      <pc:sldChg chg="new del">
        <pc:chgData name="Eduard Eugenio Duarte Sepulveda" userId="d6757e78-5d77-4033-bc1e-7634d9cd1525" providerId="ADAL" clId="{5DF622DD-7543-4CD8-88CC-75EE5A4EC4CB}" dt="2023-06-04T04:59:05.033" v="5332" actId="680"/>
        <pc:sldMkLst>
          <pc:docMk/>
          <pc:sldMk cId="1260570150" sldId="954"/>
        </pc:sldMkLst>
      </pc:sldChg>
      <pc:sldChg chg="addSp delSp modSp add mod">
        <pc:chgData name="Eduard Eugenio Duarte Sepulveda" userId="d6757e78-5d77-4033-bc1e-7634d9cd1525" providerId="ADAL" clId="{5DF622DD-7543-4CD8-88CC-75EE5A4EC4CB}" dt="2023-06-04T05:18:55.702" v="5495" actId="14100"/>
        <pc:sldMkLst>
          <pc:docMk/>
          <pc:sldMk cId="4134234717" sldId="954"/>
        </pc:sldMkLst>
        <pc:spChg chg="mod">
          <ac:chgData name="Eduard Eugenio Duarte Sepulveda" userId="d6757e78-5d77-4033-bc1e-7634d9cd1525" providerId="ADAL" clId="{5DF622DD-7543-4CD8-88CC-75EE5A4EC4CB}" dt="2023-06-04T05:14:01.943" v="5480" actId="20577"/>
          <ac:spMkLst>
            <pc:docMk/>
            <pc:sldMk cId="4134234717" sldId="954"/>
            <ac:spMk id="2" creationId="{00000000-0000-0000-0000-000000000000}"/>
          </ac:spMkLst>
        </pc:spChg>
        <pc:spChg chg="del">
          <ac:chgData name="Eduard Eugenio Duarte Sepulveda" userId="d6757e78-5d77-4033-bc1e-7634d9cd1525" providerId="ADAL" clId="{5DF622DD-7543-4CD8-88CC-75EE5A4EC4CB}" dt="2023-06-04T05:12:38.351" v="5461" actId="478"/>
          <ac:spMkLst>
            <pc:docMk/>
            <pc:sldMk cId="4134234717" sldId="954"/>
            <ac:spMk id="3" creationId="{6E485174-D231-DDF4-E420-489CBA97B7D1}"/>
          </ac:spMkLst>
        </pc:spChg>
        <pc:spChg chg="del">
          <ac:chgData name="Eduard Eugenio Duarte Sepulveda" userId="d6757e78-5d77-4033-bc1e-7634d9cd1525" providerId="ADAL" clId="{5DF622DD-7543-4CD8-88CC-75EE5A4EC4CB}" dt="2023-06-04T05:12:41.773" v="5462" actId="478"/>
          <ac:spMkLst>
            <pc:docMk/>
            <pc:sldMk cId="4134234717" sldId="954"/>
            <ac:spMk id="4" creationId="{23BA2C35-8F5D-A665-52F7-EB2F7C25E268}"/>
          </ac:spMkLst>
        </pc:spChg>
        <pc:spChg chg="del">
          <ac:chgData name="Eduard Eugenio Duarte Sepulveda" userId="d6757e78-5d77-4033-bc1e-7634d9cd1525" providerId="ADAL" clId="{5DF622DD-7543-4CD8-88CC-75EE5A4EC4CB}" dt="2023-06-04T05:12:44.260" v="5463" actId="478"/>
          <ac:spMkLst>
            <pc:docMk/>
            <pc:sldMk cId="4134234717" sldId="954"/>
            <ac:spMk id="5" creationId="{B4DA0BC2-2ED4-2401-1814-E5BF337E951E}"/>
          </ac:spMkLst>
        </pc:spChg>
        <pc:spChg chg="del">
          <ac:chgData name="Eduard Eugenio Duarte Sepulveda" userId="d6757e78-5d77-4033-bc1e-7634d9cd1525" providerId="ADAL" clId="{5DF622DD-7543-4CD8-88CC-75EE5A4EC4CB}" dt="2023-06-04T05:13:28.992" v="5464" actId="478"/>
          <ac:spMkLst>
            <pc:docMk/>
            <pc:sldMk cId="4134234717" sldId="954"/>
            <ac:spMk id="6" creationId="{D7BB98E8-447A-5855-8038-1D5EEACFDC30}"/>
          </ac:spMkLst>
        </pc:spChg>
        <pc:spChg chg="del">
          <ac:chgData name="Eduard Eugenio Duarte Sepulveda" userId="d6757e78-5d77-4033-bc1e-7634d9cd1525" providerId="ADAL" clId="{5DF622DD-7543-4CD8-88CC-75EE5A4EC4CB}" dt="2023-06-04T05:18:40.821" v="5490" actId="478"/>
          <ac:spMkLst>
            <pc:docMk/>
            <pc:sldMk cId="4134234717" sldId="954"/>
            <ac:spMk id="7" creationId="{A5ACC371-44F2-27BD-11D2-970B78B7C7C5}"/>
          </ac:spMkLst>
        </pc:spChg>
        <pc:spChg chg="del">
          <ac:chgData name="Eduard Eugenio Duarte Sepulveda" userId="d6757e78-5d77-4033-bc1e-7634d9cd1525" providerId="ADAL" clId="{5DF622DD-7543-4CD8-88CC-75EE5A4EC4CB}" dt="2023-06-04T05:18:42.869" v="5491" actId="478"/>
          <ac:spMkLst>
            <pc:docMk/>
            <pc:sldMk cId="4134234717" sldId="954"/>
            <ac:spMk id="8" creationId="{0A6B45B3-E022-0424-EE93-BD4B1D076A4E}"/>
          </ac:spMkLst>
        </pc:spChg>
        <pc:spChg chg="del">
          <ac:chgData name="Eduard Eugenio Duarte Sepulveda" userId="d6757e78-5d77-4033-bc1e-7634d9cd1525" providerId="ADAL" clId="{5DF622DD-7543-4CD8-88CC-75EE5A4EC4CB}" dt="2023-06-04T05:13:50.105" v="5465" actId="478"/>
          <ac:spMkLst>
            <pc:docMk/>
            <pc:sldMk cId="4134234717" sldId="954"/>
            <ac:spMk id="10" creationId="{6034F087-B0FD-C5D4-140F-64EEA3AC2FEC}"/>
          </ac:spMkLst>
        </pc:spChg>
        <pc:spChg chg="mod">
          <ac:chgData name="Eduard Eugenio Duarte Sepulveda" userId="d6757e78-5d77-4033-bc1e-7634d9cd1525" providerId="ADAL" clId="{5DF622DD-7543-4CD8-88CC-75EE5A4EC4CB}" dt="2023-06-04T05:14:40.157" v="5487"/>
          <ac:spMkLst>
            <pc:docMk/>
            <pc:sldMk cId="4134234717" sldId="954"/>
            <ac:spMk id="19" creationId="{00000000-0000-0000-0000-000000000000}"/>
          </ac:spMkLst>
        </pc:spChg>
        <pc:spChg chg="add mod">
          <ac:chgData name="Eduard Eugenio Duarte Sepulveda" userId="d6757e78-5d77-4033-bc1e-7634d9cd1525" providerId="ADAL" clId="{5DF622DD-7543-4CD8-88CC-75EE5A4EC4CB}" dt="2023-06-04T05:13:55.730" v="5467" actId="1076"/>
          <ac:spMkLst>
            <pc:docMk/>
            <pc:sldMk cId="4134234717" sldId="954"/>
            <ac:spMk id="25" creationId="{969193B5-4D3F-361C-30EB-BA85750B0DF5}"/>
          </ac:spMkLst>
        </pc:spChg>
        <pc:grpChg chg="del">
          <ac:chgData name="Eduard Eugenio Duarte Sepulveda" userId="d6757e78-5d77-4033-bc1e-7634d9cd1525" providerId="ADAL" clId="{5DF622DD-7543-4CD8-88CC-75EE5A4EC4CB}" dt="2023-06-04T05:10:30.695" v="5450" actId="478"/>
          <ac:grpSpMkLst>
            <pc:docMk/>
            <pc:sldMk cId="4134234717" sldId="954"/>
            <ac:grpSpMk id="11" creationId="{45DFF13F-6416-08AC-DD56-0A5A3CBAC8BF}"/>
          </ac:grpSpMkLst>
        </pc:grpChg>
        <pc:picChg chg="add mod">
          <ac:chgData name="Eduard Eugenio Duarte Sepulveda" userId="d6757e78-5d77-4033-bc1e-7634d9cd1525" providerId="ADAL" clId="{5DF622DD-7543-4CD8-88CC-75EE5A4EC4CB}" dt="2023-06-04T05:18:55.702" v="5495" actId="14100"/>
          <ac:picMkLst>
            <pc:docMk/>
            <pc:sldMk cId="4134234717" sldId="954"/>
            <ac:picMk id="27" creationId="{F4364A07-ADE2-47BB-7571-4628EBE206BB}"/>
          </ac:picMkLst>
        </pc:picChg>
      </pc:sldChg>
      <pc:sldChg chg="addSp delSp modSp add mod">
        <pc:chgData name="Eduard Eugenio Duarte Sepulveda" userId="d6757e78-5d77-4033-bc1e-7634d9cd1525" providerId="ADAL" clId="{5DF622DD-7543-4CD8-88CC-75EE5A4EC4CB}" dt="2023-06-04T05:09:16.229" v="5442" actId="1076"/>
        <pc:sldMkLst>
          <pc:docMk/>
          <pc:sldMk cId="1650415521" sldId="955"/>
        </pc:sldMkLst>
        <pc:graphicFrameChg chg="del">
          <ac:chgData name="Eduard Eugenio Duarte Sepulveda" userId="d6757e78-5d77-4033-bc1e-7634d9cd1525" providerId="ADAL" clId="{5DF622DD-7543-4CD8-88CC-75EE5A4EC4CB}" dt="2023-06-04T05:06:29.033" v="5419" actId="478"/>
          <ac:graphicFrameMkLst>
            <pc:docMk/>
            <pc:sldMk cId="1650415521" sldId="955"/>
            <ac:graphicFrameMk id="25" creationId="{EF390CC7-1F68-F4F4-9FC3-A541C29B4E5D}"/>
          </ac:graphicFrameMkLst>
        </pc:graphicFrameChg>
        <pc:picChg chg="add mod ord">
          <ac:chgData name="Eduard Eugenio Duarte Sepulveda" userId="d6757e78-5d77-4033-bc1e-7634d9cd1525" providerId="ADAL" clId="{5DF622DD-7543-4CD8-88CC-75EE5A4EC4CB}" dt="2023-06-04T05:09:16.229" v="5442" actId="1076"/>
          <ac:picMkLst>
            <pc:docMk/>
            <pc:sldMk cId="1650415521" sldId="955"/>
            <ac:picMk id="3" creationId="{6B03A8BB-7F7C-9F44-4B27-F2282AC72B85}"/>
          </ac:picMkLst>
        </pc:picChg>
        <pc:picChg chg="del">
          <ac:chgData name="Eduard Eugenio Duarte Sepulveda" userId="d6757e78-5d77-4033-bc1e-7634d9cd1525" providerId="ADAL" clId="{5DF622DD-7543-4CD8-88CC-75EE5A4EC4CB}" dt="2023-06-04T05:06:31.372" v="5420" actId="478"/>
          <ac:picMkLst>
            <pc:docMk/>
            <pc:sldMk cId="1650415521" sldId="955"/>
            <ac:picMk id="27" creationId="{EBAFFB3C-DCC8-93B5-3BD9-2F1EE0693097}"/>
          </ac:picMkLst>
        </pc:picChg>
      </pc:sldChg>
      <pc:sldChg chg="addSp delSp modSp add mod">
        <pc:chgData name="Eduard Eugenio Duarte Sepulveda" userId="d6757e78-5d77-4033-bc1e-7634d9cd1525" providerId="ADAL" clId="{5DF622DD-7543-4CD8-88CC-75EE5A4EC4CB}" dt="2023-06-04T05:10:17.079" v="5449" actId="1076"/>
        <pc:sldMkLst>
          <pc:docMk/>
          <pc:sldMk cId="3529010539" sldId="956"/>
        </pc:sldMkLst>
        <pc:graphicFrameChg chg="add mod">
          <ac:chgData name="Eduard Eugenio Duarte Sepulveda" userId="d6757e78-5d77-4033-bc1e-7634d9cd1525" providerId="ADAL" clId="{5DF622DD-7543-4CD8-88CC-75EE5A4EC4CB}" dt="2023-06-04T05:10:17.079" v="5449" actId="1076"/>
          <ac:graphicFrameMkLst>
            <pc:docMk/>
            <pc:sldMk cId="3529010539" sldId="956"/>
            <ac:graphicFrameMk id="4" creationId="{39FE1EA8-C7DB-7994-0FA2-DEB0CAE6CDC4}"/>
          </ac:graphicFrameMkLst>
        </pc:graphicFrameChg>
        <pc:picChg chg="del">
          <ac:chgData name="Eduard Eugenio Duarte Sepulveda" userId="d6757e78-5d77-4033-bc1e-7634d9cd1525" providerId="ADAL" clId="{5DF622DD-7543-4CD8-88CC-75EE5A4EC4CB}" dt="2023-06-04T05:09:56.479" v="5445" actId="478"/>
          <ac:picMkLst>
            <pc:docMk/>
            <pc:sldMk cId="3529010539" sldId="956"/>
            <ac:picMk id="3" creationId="{6B03A8BB-7F7C-9F44-4B27-F2282AC72B85}"/>
          </ac:picMkLst>
        </pc:picChg>
      </pc:sldChg>
      <pc:sldChg chg="addSp delSp modSp add mod">
        <pc:chgData name="Eduard Eugenio Duarte Sepulveda" userId="d6757e78-5d77-4033-bc1e-7634d9cd1525" providerId="ADAL" clId="{5DF622DD-7543-4CD8-88CC-75EE5A4EC4CB}" dt="2023-06-04T05:12:04.098" v="5460" actId="1076"/>
        <pc:sldMkLst>
          <pc:docMk/>
          <pc:sldMk cId="95291220" sldId="957"/>
        </pc:sldMkLst>
        <pc:spChg chg="add mod">
          <ac:chgData name="Eduard Eugenio Duarte Sepulveda" userId="d6757e78-5d77-4033-bc1e-7634d9cd1525" providerId="ADAL" clId="{5DF622DD-7543-4CD8-88CC-75EE5A4EC4CB}" dt="2023-06-04T05:12:04.098" v="5460" actId="1076"/>
          <ac:spMkLst>
            <pc:docMk/>
            <pc:sldMk cId="95291220" sldId="957"/>
            <ac:spMk id="5" creationId="{5783FBC0-7320-08F1-CAC2-C8E6CBD866B6}"/>
          </ac:spMkLst>
        </pc:spChg>
        <pc:spChg chg="add mod">
          <ac:chgData name="Eduard Eugenio Duarte Sepulveda" userId="d6757e78-5d77-4033-bc1e-7634d9cd1525" providerId="ADAL" clId="{5DF622DD-7543-4CD8-88CC-75EE5A4EC4CB}" dt="2023-06-04T05:11:57.625" v="5459" actId="1076"/>
          <ac:spMkLst>
            <pc:docMk/>
            <pc:sldMk cId="95291220" sldId="957"/>
            <ac:spMk id="6" creationId="{7EC334F6-5990-F0AF-DC44-D59D06A6F265}"/>
          </ac:spMkLst>
        </pc:spChg>
        <pc:picChg chg="del mod">
          <ac:chgData name="Eduard Eugenio Duarte Sepulveda" userId="d6757e78-5d77-4033-bc1e-7634d9cd1525" providerId="ADAL" clId="{5DF622DD-7543-4CD8-88CC-75EE5A4EC4CB}" dt="2023-06-04T05:11:28.213" v="5453" actId="478"/>
          <ac:picMkLst>
            <pc:docMk/>
            <pc:sldMk cId="95291220" sldId="957"/>
            <ac:picMk id="3" creationId="{6B03A8BB-7F7C-9F44-4B27-F2282AC72B85}"/>
          </ac:picMkLst>
        </pc:picChg>
        <pc:picChg chg="add mod">
          <ac:chgData name="Eduard Eugenio Duarte Sepulveda" userId="d6757e78-5d77-4033-bc1e-7634d9cd1525" providerId="ADAL" clId="{5DF622DD-7543-4CD8-88CC-75EE5A4EC4CB}" dt="2023-06-04T05:11:39.491" v="5457" actId="1076"/>
          <ac:picMkLst>
            <pc:docMk/>
            <pc:sldMk cId="95291220" sldId="957"/>
            <ac:picMk id="4" creationId="{7E7F6936-9C3D-B0FA-17E1-772BECDE645F}"/>
          </ac:picMkLst>
        </pc:picChg>
      </pc:sldChg>
      <pc:sldChg chg="modSp add del">
        <pc:chgData name="Eduard Eugenio Duarte Sepulveda" userId="d6757e78-5d77-4033-bc1e-7634d9cd1525" providerId="ADAL" clId="{5DF622DD-7543-4CD8-88CC-75EE5A4EC4CB}" dt="2023-06-04T05:10:00.475" v="5447"/>
        <pc:sldMkLst>
          <pc:docMk/>
          <pc:sldMk cId="2533068285" sldId="957"/>
        </pc:sldMkLst>
        <pc:graphicFrameChg chg="mod">
          <ac:chgData name="Eduard Eugenio Duarte Sepulveda" userId="d6757e78-5d77-4033-bc1e-7634d9cd1525" providerId="ADAL" clId="{5DF622DD-7543-4CD8-88CC-75EE5A4EC4CB}" dt="2023-06-04T05:09:57.001" v="5446"/>
          <ac:graphicFrameMkLst>
            <pc:docMk/>
            <pc:sldMk cId="2533068285" sldId="957"/>
            <ac:graphicFrameMk id="3" creationId="{27636D50-54CC-4241-BBA5-8EA2C9476DAD}"/>
          </ac:graphicFrameMkLst>
        </pc:graphicFrameChg>
      </pc:sldChg>
      <pc:sldChg chg="addSp delSp modSp add mod">
        <pc:chgData name="Eduard Eugenio Duarte Sepulveda" userId="d6757e78-5d77-4033-bc1e-7634d9cd1525" providerId="ADAL" clId="{5DF622DD-7543-4CD8-88CC-75EE5A4EC4CB}" dt="2023-06-04T05:20:00.207" v="5499" actId="1076"/>
        <pc:sldMkLst>
          <pc:docMk/>
          <pc:sldMk cId="3513806675" sldId="958"/>
        </pc:sldMkLst>
        <pc:picChg chg="add mod">
          <ac:chgData name="Eduard Eugenio Duarte Sepulveda" userId="d6757e78-5d77-4033-bc1e-7634d9cd1525" providerId="ADAL" clId="{5DF622DD-7543-4CD8-88CC-75EE5A4EC4CB}" dt="2023-06-04T05:20:00.207" v="5499" actId="1076"/>
          <ac:picMkLst>
            <pc:docMk/>
            <pc:sldMk cId="3513806675" sldId="958"/>
            <ac:picMk id="4" creationId="{90797413-27AD-1D78-F78D-D5399856DBFA}"/>
          </ac:picMkLst>
        </pc:picChg>
        <pc:picChg chg="del">
          <ac:chgData name="Eduard Eugenio Duarte Sepulveda" userId="d6757e78-5d77-4033-bc1e-7634d9cd1525" providerId="ADAL" clId="{5DF622DD-7543-4CD8-88CC-75EE5A4EC4CB}" dt="2023-06-04T05:19:55.857" v="5498" actId="478"/>
          <ac:picMkLst>
            <pc:docMk/>
            <pc:sldMk cId="3513806675" sldId="958"/>
            <ac:picMk id="27" creationId="{F4364A07-ADE2-47BB-7571-4628EBE206BB}"/>
          </ac:picMkLst>
        </pc:picChg>
      </pc:sldChg>
      <pc:sldChg chg="addSp delSp modSp add mod">
        <pc:chgData name="Eduard Eugenio Duarte Sepulveda" userId="d6757e78-5d77-4033-bc1e-7634d9cd1525" providerId="ADAL" clId="{5DF622DD-7543-4CD8-88CC-75EE5A4EC4CB}" dt="2023-06-04T05:21:33.757" v="5507" actId="1076"/>
        <pc:sldMkLst>
          <pc:docMk/>
          <pc:sldMk cId="1993803231" sldId="959"/>
        </pc:sldMkLst>
        <pc:picChg chg="del">
          <ac:chgData name="Eduard Eugenio Duarte Sepulveda" userId="d6757e78-5d77-4033-bc1e-7634d9cd1525" providerId="ADAL" clId="{5DF622DD-7543-4CD8-88CC-75EE5A4EC4CB}" dt="2023-06-04T05:20:10.900" v="5501" actId="478"/>
          <ac:picMkLst>
            <pc:docMk/>
            <pc:sldMk cId="1993803231" sldId="959"/>
            <ac:picMk id="4" creationId="{90797413-27AD-1D78-F78D-D5399856DBFA}"/>
          </ac:picMkLst>
        </pc:picChg>
        <pc:picChg chg="add mod">
          <ac:chgData name="Eduard Eugenio Duarte Sepulveda" userId="d6757e78-5d77-4033-bc1e-7634d9cd1525" providerId="ADAL" clId="{5DF622DD-7543-4CD8-88CC-75EE5A4EC4CB}" dt="2023-06-04T05:21:33.757" v="5507" actId="1076"/>
          <ac:picMkLst>
            <pc:docMk/>
            <pc:sldMk cId="1993803231" sldId="959"/>
            <ac:picMk id="5" creationId="{17D42DE5-718A-3D42-712E-2CC025169B0A}"/>
          </ac:picMkLst>
        </pc:picChg>
      </pc:sldChg>
      <pc:sldChg chg="addSp delSp modSp add mod">
        <pc:chgData name="Eduard Eugenio Duarte Sepulveda" userId="d6757e78-5d77-4033-bc1e-7634d9cd1525" providerId="ADAL" clId="{5DF622DD-7543-4CD8-88CC-75EE5A4EC4CB}" dt="2023-06-04T05:23:29.630" v="5579" actId="1076"/>
        <pc:sldMkLst>
          <pc:docMk/>
          <pc:sldMk cId="3427809583" sldId="960"/>
        </pc:sldMkLst>
        <pc:spChg chg="add mod">
          <ac:chgData name="Eduard Eugenio Duarte Sepulveda" userId="d6757e78-5d77-4033-bc1e-7634d9cd1525" providerId="ADAL" clId="{5DF622DD-7543-4CD8-88CC-75EE5A4EC4CB}" dt="2023-06-04T05:23:29.630" v="5579" actId="1076"/>
          <ac:spMkLst>
            <pc:docMk/>
            <pc:sldMk cId="3427809583" sldId="960"/>
            <ac:spMk id="6" creationId="{67E04C26-5738-5F3A-1148-210D77A4E18A}"/>
          </ac:spMkLst>
        </pc:spChg>
        <pc:picChg chg="add mod">
          <ac:chgData name="Eduard Eugenio Duarte Sepulveda" userId="d6757e78-5d77-4033-bc1e-7634d9cd1525" providerId="ADAL" clId="{5DF622DD-7543-4CD8-88CC-75EE5A4EC4CB}" dt="2023-06-04T05:22:57.988" v="5511" actId="1076"/>
          <ac:picMkLst>
            <pc:docMk/>
            <pc:sldMk cId="3427809583" sldId="960"/>
            <ac:picMk id="4" creationId="{CC3B3E9B-F62E-0639-E998-C3A5D6751A5E}"/>
          </ac:picMkLst>
        </pc:picChg>
        <pc:picChg chg="del">
          <ac:chgData name="Eduard Eugenio Duarte Sepulveda" userId="d6757e78-5d77-4033-bc1e-7634d9cd1525" providerId="ADAL" clId="{5DF622DD-7543-4CD8-88CC-75EE5A4EC4CB}" dt="2023-06-04T05:22:53.694" v="5510" actId="478"/>
          <ac:picMkLst>
            <pc:docMk/>
            <pc:sldMk cId="3427809583" sldId="960"/>
            <ac:picMk id="5" creationId="{17D42DE5-718A-3D42-712E-2CC025169B0A}"/>
          </ac:picMkLst>
        </pc:picChg>
      </pc:sldChg>
      <pc:sldChg chg="add">
        <pc:chgData name="Eduard Eugenio Duarte Sepulveda" userId="d6757e78-5d77-4033-bc1e-7634d9cd1525" providerId="ADAL" clId="{5DF622DD-7543-4CD8-88CC-75EE5A4EC4CB}" dt="2023-06-04T05:26:35.150" v="5635" actId="2890"/>
        <pc:sldMkLst>
          <pc:docMk/>
          <pc:sldMk cId="2923769366" sldId="961"/>
        </pc:sldMkLst>
      </pc:sldChg>
      <pc:sldChg chg="addSp delSp modSp add mod ord">
        <pc:chgData name="Eduard Eugenio Duarte Sepulveda" userId="d6757e78-5d77-4033-bc1e-7634d9cd1525" providerId="ADAL" clId="{5DF622DD-7543-4CD8-88CC-75EE5A4EC4CB}" dt="2023-06-04T05:42:04.244" v="6123" actId="14100"/>
        <pc:sldMkLst>
          <pc:docMk/>
          <pc:sldMk cId="1950030066" sldId="962"/>
        </pc:sldMkLst>
        <pc:spChg chg="mod">
          <ac:chgData name="Eduard Eugenio Duarte Sepulveda" userId="d6757e78-5d77-4033-bc1e-7634d9cd1525" providerId="ADAL" clId="{5DF622DD-7543-4CD8-88CC-75EE5A4EC4CB}" dt="2023-06-04T05:34:10.714" v="5854" actId="33524"/>
          <ac:spMkLst>
            <pc:docMk/>
            <pc:sldMk cId="1950030066" sldId="962"/>
            <ac:spMk id="2" creationId="{00000000-0000-0000-0000-000000000000}"/>
          </ac:spMkLst>
        </pc:spChg>
        <pc:spChg chg="add del mod">
          <ac:chgData name="Eduard Eugenio Duarte Sepulveda" userId="d6757e78-5d77-4033-bc1e-7634d9cd1525" providerId="ADAL" clId="{5DF622DD-7543-4CD8-88CC-75EE5A4EC4CB}" dt="2023-06-04T05:35:15.494" v="5887" actId="12084"/>
          <ac:spMkLst>
            <pc:docMk/>
            <pc:sldMk cId="1950030066" sldId="962"/>
            <ac:spMk id="3" creationId="{42E9FEA1-6E8B-CFE7-1B0E-37FC719C7009}"/>
          </ac:spMkLst>
        </pc:spChg>
        <pc:spChg chg="add del">
          <ac:chgData name="Eduard Eugenio Duarte Sepulveda" userId="d6757e78-5d77-4033-bc1e-7634d9cd1525" providerId="ADAL" clId="{5DF622DD-7543-4CD8-88CC-75EE5A4EC4CB}" dt="2023-06-04T05:39:04.043" v="5998" actId="12084"/>
          <ac:spMkLst>
            <pc:docMk/>
            <pc:sldMk cId="1950030066" sldId="962"/>
            <ac:spMk id="5" creationId="{C0137C07-3E6D-C30E-5E54-C896AFF88B65}"/>
          </ac:spMkLst>
        </pc:spChg>
        <pc:spChg chg="del mod">
          <ac:chgData name="Eduard Eugenio Duarte Sepulveda" userId="d6757e78-5d77-4033-bc1e-7634d9cd1525" providerId="ADAL" clId="{5DF622DD-7543-4CD8-88CC-75EE5A4EC4CB}" dt="2023-06-04T05:34:29.938" v="5880" actId="478"/>
          <ac:spMkLst>
            <pc:docMk/>
            <pc:sldMk cId="1950030066" sldId="962"/>
            <ac:spMk id="11" creationId="{D6C74055-1009-0525-7414-AEB2A3B6DDC7}"/>
          </ac:spMkLst>
        </pc:spChg>
        <pc:spChg chg="mod">
          <ac:chgData name="Eduard Eugenio Duarte Sepulveda" userId="d6757e78-5d77-4033-bc1e-7634d9cd1525" providerId="ADAL" clId="{5DF622DD-7543-4CD8-88CC-75EE5A4EC4CB}" dt="2023-06-04T05:34:24.146" v="5879" actId="20577"/>
          <ac:spMkLst>
            <pc:docMk/>
            <pc:sldMk cId="1950030066" sldId="962"/>
            <ac:spMk id="15" creationId="{00000000-0000-0000-0000-000000000000}"/>
          </ac:spMkLst>
        </pc:spChg>
        <pc:graphicFrameChg chg="add mod">
          <ac:chgData name="Eduard Eugenio Duarte Sepulveda" userId="d6757e78-5d77-4033-bc1e-7634d9cd1525" providerId="ADAL" clId="{5DF622DD-7543-4CD8-88CC-75EE5A4EC4CB}" dt="2023-06-04T05:36:53.994" v="5996" actId="14100"/>
          <ac:graphicFrameMkLst>
            <pc:docMk/>
            <pc:sldMk cId="1950030066" sldId="962"/>
            <ac:graphicFrameMk id="4" creationId="{14AEB8B9-5B21-1DD0-E47E-F3E4BDA60D60}"/>
          </ac:graphicFrameMkLst>
        </pc:graphicFrameChg>
        <pc:graphicFrameChg chg="add mod">
          <ac:chgData name="Eduard Eugenio Duarte Sepulveda" userId="d6757e78-5d77-4033-bc1e-7634d9cd1525" providerId="ADAL" clId="{5DF622DD-7543-4CD8-88CC-75EE5A4EC4CB}" dt="2023-06-04T05:42:04.244" v="6123" actId="14100"/>
          <ac:graphicFrameMkLst>
            <pc:docMk/>
            <pc:sldMk cId="1950030066" sldId="962"/>
            <ac:graphicFrameMk id="6" creationId="{D64949D0-B56A-80DA-4DDA-BA1D847B7F9B}"/>
          </ac:graphicFrameMkLst>
        </pc:graphicFrameChg>
      </pc:sldChg>
      <pc:sldChg chg="new del">
        <pc:chgData name="Eduard Eugenio Duarte Sepulveda" userId="d6757e78-5d77-4033-bc1e-7634d9cd1525" providerId="ADAL" clId="{5DF622DD-7543-4CD8-88CC-75EE5A4EC4CB}" dt="2023-06-04T05:33:00.578" v="5829" actId="47"/>
        <pc:sldMkLst>
          <pc:docMk/>
          <pc:sldMk cId="2604818703" sldId="962"/>
        </pc:sldMkLst>
      </pc:sldChg>
      <pc:sldChg chg="delSp add del mod">
        <pc:chgData name="Eduard Eugenio Duarte Sepulveda" userId="d6757e78-5d77-4033-bc1e-7634d9cd1525" providerId="ADAL" clId="{5DF622DD-7543-4CD8-88CC-75EE5A4EC4CB}" dt="2023-06-04T05:32:53.930" v="5827" actId="47"/>
        <pc:sldMkLst>
          <pc:docMk/>
          <pc:sldMk cId="3280078727" sldId="962"/>
        </pc:sldMkLst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3" creationId="{1ED91B86-61BF-9287-7CFB-469AC4058DEE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5" creationId="{27386E01-4DEA-803B-0862-3514A234A87E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6" creationId="{9747464F-C9D4-B502-47B3-999B901D0A3B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8" creationId="{2E5BBC9B-98DD-96CE-3AA3-BF80DFB673B9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9" creationId="{B11D5489-0F04-8F31-A8A2-16B1F3ACBEC4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10" creationId="{A926E40E-99F2-F74A-996E-4F314C35A71C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11" creationId="{A48BD72B-AA47-8F0F-4FEC-E2578CA493DD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12" creationId="{00A3B34E-702F-F8EE-47C9-0E661CAC5A7B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16" creationId="{6612052E-E0C4-B71A-A112-DF66B09E5CCF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18" creationId="{9E958D35-7101-BB14-0F4B-B49DA4BCC99E}"/>
          </ac:spMkLst>
        </pc:spChg>
        <pc:spChg chg="del">
          <ac:chgData name="Eduard Eugenio Duarte Sepulveda" userId="d6757e78-5d77-4033-bc1e-7634d9cd1525" providerId="ADAL" clId="{5DF622DD-7543-4CD8-88CC-75EE5A4EC4CB}" dt="2023-06-04T05:32:47.436" v="5826" actId="478"/>
          <ac:spMkLst>
            <pc:docMk/>
            <pc:sldMk cId="3280078727" sldId="962"/>
            <ac:spMk id="19" creationId="{06372D50-09B4-FF7F-D1D1-7A21849A2CE1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20" creationId="{FCA94246-6492-3761-7BD6-5BD9CFBC9D95}"/>
          </ac:spMkLst>
        </pc:spChg>
        <pc:spChg chg="del">
          <ac:chgData name="Eduard Eugenio Duarte Sepulveda" userId="d6757e78-5d77-4033-bc1e-7634d9cd1525" providerId="ADAL" clId="{5DF622DD-7543-4CD8-88CC-75EE5A4EC4CB}" dt="2023-06-04T05:32:47.436" v="5826" actId="478"/>
          <ac:spMkLst>
            <pc:docMk/>
            <pc:sldMk cId="3280078727" sldId="962"/>
            <ac:spMk id="22" creationId="{12AC3080-B6C5-AE96-D327-4AE7115E0BC7}"/>
          </ac:spMkLst>
        </pc:spChg>
        <pc:spChg chg="del">
          <ac:chgData name="Eduard Eugenio Duarte Sepulveda" userId="d6757e78-5d77-4033-bc1e-7634d9cd1525" providerId="ADAL" clId="{5DF622DD-7543-4CD8-88CC-75EE5A4EC4CB}" dt="2023-06-04T05:32:44.012" v="5825" actId="478"/>
          <ac:spMkLst>
            <pc:docMk/>
            <pc:sldMk cId="3280078727" sldId="962"/>
            <ac:spMk id="24" creationId="{2DD586DA-1B8B-EF34-35FD-73E40F4BD394}"/>
          </ac:spMkLst>
        </pc:spChg>
        <pc:graphicFrameChg chg="del">
          <ac:chgData name="Eduard Eugenio Duarte Sepulveda" userId="d6757e78-5d77-4033-bc1e-7634d9cd1525" providerId="ADAL" clId="{5DF622DD-7543-4CD8-88CC-75EE5A4EC4CB}" dt="2023-06-04T05:32:47.436" v="5826" actId="478"/>
          <ac:graphicFrameMkLst>
            <pc:docMk/>
            <pc:sldMk cId="3280078727" sldId="962"/>
            <ac:graphicFrameMk id="2" creationId="{C08D51F0-EAEE-45DE-94BC-1ED02C581ECC}"/>
          </ac:graphicFrameMkLst>
        </pc:graphicFrameChg>
        <pc:picChg chg="del">
          <ac:chgData name="Eduard Eugenio Duarte Sepulveda" userId="d6757e78-5d77-4033-bc1e-7634d9cd1525" providerId="ADAL" clId="{5DF622DD-7543-4CD8-88CC-75EE5A4EC4CB}" dt="2023-06-04T05:32:44.012" v="5825" actId="478"/>
          <ac:picMkLst>
            <pc:docMk/>
            <pc:sldMk cId="3280078727" sldId="962"/>
            <ac:picMk id="4" creationId="{AC3D5FD6-98B7-CAF2-9561-B1F4A7F13304}"/>
          </ac:picMkLst>
        </pc:picChg>
      </pc:sldChg>
      <pc:sldChg chg="delSp modSp add mod">
        <pc:chgData name="Eduard Eugenio Duarte Sepulveda" userId="d6757e78-5d77-4033-bc1e-7634d9cd1525" providerId="ADAL" clId="{5DF622DD-7543-4CD8-88CC-75EE5A4EC4CB}" dt="2023-06-04T05:46:59.153" v="6456" actId="1076"/>
        <pc:sldMkLst>
          <pc:docMk/>
          <pc:sldMk cId="1709197187" sldId="963"/>
        </pc:sldMkLst>
        <pc:spChg chg="mod">
          <ac:chgData name="Eduard Eugenio Duarte Sepulveda" userId="d6757e78-5d77-4033-bc1e-7634d9cd1525" providerId="ADAL" clId="{5DF622DD-7543-4CD8-88CC-75EE5A4EC4CB}" dt="2023-06-04T05:42:32.415" v="6147" actId="20577"/>
          <ac:spMkLst>
            <pc:docMk/>
            <pc:sldMk cId="1709197187" sldId="963"/>
            <ac:spMk id="2" creationId="{00000000-0000-0000-0000-000000000000}"/>
          </ac:spMkLst>
        </pc:spChg>
        <pc:spChg chg="mod">
          <ac:chgData name="Eduard Eugenio Duarte Sepulveda" userId="d6757e78-5d77-4033-bc1e-7634d9cd1525" providerId="ADAL" clId="{5DF622DD-7543-4CD8-88CC-75EE5A4EC4CB}" dt="2023-06-04T05:42:42.553" v="6157" actId="20577"/>
          <ac:spMkLst>
            <pc:docMk/>
            <pc:sldMk cId="1709197187" sldId="963"/>
            <ac:spMk id="15" creationId="{00000000-0000-0000-0000-000000000000}"/>
          </ac:spMkLst>
        </pc:spChg>
        <pc:graphicFrameChg chg="del mod">
          <ac:chgData name="Eduard Eugenio Duarte Sepulveda" userId="d6757e78-5d77-4033-bc1e-7634d9cd1525" providerId="ADAL" clId="{5DF622DD-7543-4CD8-88CC-75EE5A4EC4CB}" dt="2023-06-04T05:42:54.962" v="6160" actId="478"/>
          <ac:graphicFrameMkLst>
            <pc:docMk/>
            <pc:sldMk cId="1709197187" sldId="963"/>
            <ac:graphicFrameMk id="4" creationId="{14AEB8B9-5B21-1DD0-E47E-F3E4BDA60D60}"/>
          </ac:graphicFrameMkLst>
        </pc:graphicFrameChg>
        <pc:graphicFrameChg chg="mod">
          <ac:chgData name="Eduard Eugenio Duarte Sepulveda" userId="d6757e78-5d77-4033-bc1e-7634d9cd1525" providerId="ADAL" clId="{5DF622DD-7543-4CD8-88CC-75EE5A4EC4CB}" dt="2023-06-04T05:46:59.153" v="6456" actId="1076"/>
          <ac:graphicFrameMkLst>
            <pc:docMk/>
            <pc:sldMk cId="1709197187" sldId="963"/>
            <ac:graphicFrameMk id="6" creationId="{D64949D0-B56A-80DA-4DDA-BA1D847B7F9B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E3ECEABD-58F0-41C6-A1B5-F6BCA99201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824CFB2-AD5F-4363-9017-5DD74EA636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536900-A273-4192-A5F3-D1D52B781480}" type="datetimeFigureOut">
              <a:rPr lang="es-ES" smtClean="0"/>
              <a:t>14/06/2023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F5FA4A3-C7C2-4A5D-BD7B-6E9B206E44D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BE1097B-EDEA-44B3-8B20-0934D4301D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5287E5-8F30-4233-B83B-DACBFA43529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28992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noProof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68868E-82C9-4335-AB18-48A43B8F09ED}" type="datetimeFigureOut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noProof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/>
              <a:t>Editar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noProof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3F3837-1EA1-4185-B041-082E69BD8CF5}" type="slidenum">
              <a:rPr lang="es-ES" noProof="0" smtClean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5482238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3F3837-1EA1-4185-B041-082E69BD8CF5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0455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1743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ES" dirty="0" err="1"/>
              <a:t>Economia</a:t>
            </a:r>
            <a:r>
              <a:rPr lang="es-ES" dirty="0"/>
              <a:t> de experiencia – micro momentos</a:t>
            </a:r>
            <a:r>
              <a:rPr lang="es-ES" baseline="0" dirty="0"/>
              <a:t> de un cliente con una marca o una propuesta de valor</a:t>
            </a:r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CO" smtClean="0"/>
              <a:pPr/>
              <a:t>3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86875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96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992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8123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3250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Cultura y velocidad distinta…. </a:t>
            </a:r>
          </a:p>
          <a:p>
            <a:endParaRPr lang="es-ES"/>
          </a:p>
          <a:p>
            <a:r>
              <a:rPr lang="es-ES"/>
              <a:t>Plantear argumento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3F3837-1EA1-4185-B041-082E69BD8CF5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281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pPr rtl="0"/>
            <a:fld id="{BEFF3C2B-FE6D-42D4-BBB0-67A75FA1ED9C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0542574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E4C2A1C6-30E4-4BB7-B0A5-81DD08B863BE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547472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D2CF2578-F7E1-4AE6-A9CE-31E003EE66BF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8607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gray shading">
    <p:bg>
      <p:bgPr>
        <a:gradFill>
          <a:gsLst>
            <a:gs pos="0">
              <a:schemeClr val="bg1"/>
            </a:gs>
            <a:gs pos="100000">
              <a:srgbClr val="DBDBD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328169" y="6237312"/>
            <a:ext cx="439241" cy="439240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1"/>
            </a:p>
          </p:txBody>
        </p:sp>
      </p:grp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784570" y="764704"/>
            <a:ext cx="9797832" cy="288032"/>
          </a:xfrm>
        </p:spPr>
        <p:txBody>
          <a:bodyPr anchor="ctr">
            <a:noAutofit/>
          </a:bodyPr>
          <a:lstStyle>
            <a:lvl1pPr marL="0" indent="0" algn="r">
              <a:buNone/>
              <a:defRPr sz="2000" cap="small" baseline="0">
                <a:solidFill>
                  <a:schemeClr val="accent1">
                    <a:lumMod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1784570" y="147094"/>
            <a:ext cx="9797832" cy="6176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4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01" b="19391"/>
          <a:stretch/>
        </p:blipFill>
        <p:spPr>
          <a:xfrm>
            <a:off x="10560496" y="5593032"/>
            <a:ext cx="1095488" cy="1083520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8169" y="6237312"/>
            <a:ext cx="439241" cy="390437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1747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ley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rtlCol="0" anchor="b">
            <a:normAutofit/>
          </a:bodyPr>
          <a:lstStyle>
            <a:lvl1pPr>
              <a:defRPr sz="3200" b="0" baseline="0"/>
            </a:lvl1pPr>
          </a:lstStyle>
          <a:p>
            <a:pPr rtl="0"/>
            <a:r>
              <a:rPr lang="es-ES" noProof="0"/>
              <a:t>Haga clic para modificar el estilo de título del patrón</a:t>
            </a:r>
          </a:p>
        </p:txBody>
      </p:sp>
      <p:sp>
        <p:nvSpPr>
          <p:cNvPr id="3" name="Marcador de posición de contenido 2"/>
          <p:cNvSpPr>
            <a:spLocks noGrp="1"/>
          </p:cNvSpPr>
          <p:nvPr>
            <p:ph idx="1" hasCustomPrompt="1"/>
          </p:nvPr>
        </p:nvSpPr>
        <p:spPr>
          <a:xfrm>
            <a:off x="3906981" y="1852122"/>
            <a:ext cx="2458230" cy="2008678"/>
          </a:xfrm>
        </p:spPr>
        <p:txBody>
          <a:bodyPr rtlCol="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 rtl="0"/>
            <a:r>
              <a:rPr lang="es-ES" noProof="0"/>
              <a:t>Editar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4" name="Marcador de posición de texto 3"/>
          <p:cNvSpPr>
            <a:spLocks noGrp="1"/>
          </p:cNvSpPr>
          <p:nvPr>
            <p:ph type="body" sz="half" idx="2" hasCustomPrompt="1"/>
          </p:nvPr>
        </p:nvSpPr>
        <p:spPr>
          <a:xfrm>
            <a:off x="256032" y="3494176"/>
            <a:ext cx="2834640" cy="2321990"/>
          </a:xfrm>
        </p:spPr>
        <p:txBody>
          <a:bodyPr rtlCol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es-ES" noProof="0"/>
              <a:t>Editar Estilos de texto del patrón</a:t>
            </a:r>
          </a:p>
        </p:txBody>
      </p:sp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D07F92E6-92B8-4BFC-AB1C-994666EF2AAA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9" name="Marcador de posición de pie de página 8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s-ES" noProof="0"/>
          </a:p>
        </p:txBody>
      </p:sp>
      <p:sp>
        <p:nvSpPr>
          <p:cNvPr id="10" name="Marcador de posición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87B0DF2F-DAFD-4616-9E25-0C28D75BF30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491805" y="1852122"/>
            <a:ext cx="2458230" cy="2008678"/>
          </a:xfrm>
        </p:spPr>
        <p:txBody>
          <a:bodyPr rtlCol="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 rtl="0"/>
            <a:r>
              <a:rPr lang="es-ES" noProof="0"/>
              <a:t>Editar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336DA0F9-D851-437C-A45B-EC125A3D3DB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76629" y="1852122"/>
            <a:ext cx="2458230" cy="2008678"/>
          </a:xfrm>
        </p:spPr>
        <p:txBody>
          <a:bodyPr rtlCol="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 rtl="0"/>
            <a:r>
              <a:rPr lang="es-ES" noProof="0"/>
              <a:t>Editar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0FF0BA98-3AB4-4D88-B1C2-6279BCACFA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87792" y="3971924"/>
            <a:ext cx="2477419" cy="803275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es-ES" noProof="0"/>
              <a:t>Editar Estilos de texto del patrón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D9DEF72B-B924-4A0D-8C83-3B370632C0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2616" y="3971925"/>
            <a:ext cx="2477419" cy="803275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es-ES" noProof="0"/>
              <a:t>Editar Estilos de texto del patrón</a:t>
            </a:r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E9D30C54-E9E8-4300-8DA4-352DB3A71A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70239" y="3971924"/>
            <a:ext cx="2477419" cy="803275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es-ES" noProof="0"/>
              <a:t>Editar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75080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F288DD7-6DAF-436D-B04A-EBCCAA369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es-ES" noProof="0"/>
              <a:t>Haga clic para editar el título de la página</a:t>
            </a:r>
          </a:p>
        </p:txBody>
      </p:sp>
      <p:sp>
        <p:nvSpPr>
          <p:cNvPr id="9" name="Subtítulo 2">
            <a:extLst>
              <a:ext uri="{FF2B5EF4-FFF2-40B4-BE49-F238E27FC236}">
                <a16:creationId xmlns:a16="http://schemas.microsoft.com/office/drawing/2014/main" id="{E4633398-8EC3-417B-BEA6-101D8F22467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008000"/>
            <a:ext cx="11339513" cy="360000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es-ES" noProof="0"/>
              <a:t>Subtítulo</a:t>
            </a:r>
          </a:p>
        </p:txBody>
      </p:sp>
      <p:sp>
        <p:nvSpPr>
          <p:cNvPr id="3" name="Marcador de comparación izquierdo 1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2000" y="1515834"/>
            <a:ext cx="5472000" cy="360000"/>
          </a:xfrm>
        </p:spPr>
        <p:txBody>
          <a:bodyPr rtlCol="0" anchor="t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es-ES" noProof="0"/>
              <a:t>Editar estilos de texto del patrón</a:t>
            </a:r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2000" y="2023668"/>
            <a:ext cx="5472000" cy="4168332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es-ES" noProof="0"/>
              <a:t>Editar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12" name="Marcador de comparación izquierdo 2">
            <a:extLst>
              <a:ext uri="{FF2B5EF4-FFF2-40B4-BE49-F238E27FC236}">
                <a16:creationId xmlns:a16="http://schemas.microsoft.com/office/drawing/2014/main" id="{78A963F8-6F6E-440E-B3B3-DDE13C083A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00000" y="1516359"/>
            <a:ext cx="5472000" cy="358775"/>
          </a:xfrm>
        </p:spPr>
        <p:txBody>
          <a:bodyPr rtlCol="0"/>
          <a:lstStyle>
            <a:lvl1pPr marL="0" indent="0">
              <a:buNone/>
              <a:defRPr sz="2400" b="1"/>
            </a:lvl1pPr>
          </a:lstStyle>
          <a:p>
            <a:pPr lvl="0" rtl="0"/>
            <a:r>
              <a:rPr lang="es-ES" noProof="0"/>
              <a:t>Editar estilos de texto del patrón</a:t>
            </a:r>
          </a:p>
        </p:txBody>
      </p:sp>
      <p:sp>
        <p:nvSpPr>
          <p:cNvPr id="8" name="Marcador de posición de texto 4">
            <a:extLst>
              <a:ext uri="{FF2B5EF4-FFF2-40B4-BE49-F238E27FC236}">
                <a16:creationId xmlns:a16="http://schemas.microsoft.com/office/drawing/2014/main" id="{DF0A5256-B267-47DA-858A-0F3867CB61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9887" y="2020359"/>
            <a:ext cx="5472113" cy="4170891"/>
          </a:xfrm>
        </p:spPr>
        <p:txBody>
          <a:bodyPr rtlCol="0"/>
          <a:lstStyle/>
          <a:p>
            <a:pPr lvl="0" rtl="0"/>
            <a:r>
              <a:rPr lang="es-ES" noProof="0"/>
              <a:t>Editar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6B8F99-FAB0-4B33-87ED-9FF46D11A9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r>
              <a:rPr lang="es-ES" noProof="0"/>
              <a:t>Agregue un pie de página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8733E7E-50D2-4F6C-9DF2-CF4C98C4B8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531925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BEFF3C2B-FE6D-42D4-BBB0-67A75FA1ED9C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194497081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BB2E1E6C-3F7B-4A58-8073-DE91827AE258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55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E9E3625D-CCA1-46AC-98D2-F055DCE80F3A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561940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0D63EFB8-5C08-4008-9B97-F8176CD39737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094989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A241E37C-8E03-4609-A442-8667C3A8EBD8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6283421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C3CD2C8A-0368-46E3-8AD5-64D54475A9B4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4005057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BEFF3C2B-FE6D-42D4-BBB0-67A75FA1ED9C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54955741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BEFF3C2B-FE6D-42D4-BBB0-67A75FA1ED9C}" type="datetime1">
              <a:rPr lang="es-ES" noProof="0" smtClean="0"/>
              <a:t>14/06/2023</a:t>
            </a:fld>
            <a:endParaRPr lang="es-E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s-E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4FAB73BC-B049-4115-A692-8D63A059BFB8}" type="slidenum">
              <a:rPr lang="es-ES" noProof="0" smtClean="0"/>
              <a:pPr rtl="0"/>
              <a:t>‹Nº›</a:t>
            </a:fld>
            <a:endParaRPr lang="es-ES" noProof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988768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764DE79-268F-4C1A-8933-263129D2AF90}" type="datetimeFigureOut">
              <a:rPr lang="en-US" smtClean="0"/>
              <a:t>6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8F63A3B-78C7-47BE-AE5E-E10140E04643}" type="slidenum">
              <a:rPr lang="en-US" smtClean="0"/>
              <a:t>‹Nº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164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872" r:id="rId13"/>
    <p:sldLayoutId id="2147483923" r:id="rId14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edit.org/edit/all/1jhnsq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edit.org/edit/all/255wgdzsq" TargetMode="Externa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stackoverflow.com/questions/27998823/how-to-get-step-count-from-google-fit-rest-api-like-google-fit-app" TargetMode="External"/><Relationship Id="rId7" Type="http://schemas.openxmlformats.org/officeDocument/2006/relationships/hyperlink" Target="https://nokiagang.com/google-apis-microsoft-net/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hyperlink" Target="https://proofmart.com/product/github-logo-png-hd-images-transparent-background-free-download/" TargetMode="External"/><Relationship Id="rId4" Type="http://schemas.openxmlformats.org/officeDocument/2006/relationships/image" Target="../media/image4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stackoverflow.com/questions/36118433/how-to-fork-a-new-branch-from-a-repo-when-you-already-have-the-master" TargetMode="Externa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s://eduarduartes.github.io/team.html" TargetMode="Externa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What Is Fintech? – Forbes Advisor">
            <a:extLst>
              <a:ext uri="{FF2B5EF4-FFF2-40B4-BE49-F238E27FC236}">
                <a16:creationId xmlns:a16="http://schemas.microsoft.com/office/drawing/2014/main" id="{CD172DBE-ED98-508D-746C-9C0E6EA1DB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1" r="9114"/>
          <a:stretch/>
        </p:blipFill>
        <p:spPr bwMode="auto">
          <a:xfrm>
            <a:off x="3068" y="0"/>
            <a:ext cx="121889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7D6CA50C-1A88-4B3F-A34F-FE199F4205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557" y="1653703"/>
            <a:ext cx="4053525" cy="2470488"/>
          </a:xfrm>
        </p:spPr>
        <p:txBody>
          <a:bodyPr rtlCol="0">
            <a:normAutofit/>
          </a:bodyPr>
          <a:lstStyle/>
          <a:p>
            <a:pPr rtl="0"/>
            <a:r>
              <a:rPr lang="es-ES" sz="4400" dirty="0">
                <a:solidFill>
                  <a:schemeClr val="bg1"/>
                </a:solidFill>
              </a:rPr>
              <a:t>Emprendemos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9CC2D51-705E-403A-AC0E-9157DC5513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557" y="4260714"/>
            <a:ext cx="3361953" cy="1032093"/>
          </a:xfrm>
        </p:spPr>
        <p:txBody>
          <a:bodyPr rtlCol="0">
            <a:normAutofit/>
          </a:bodyPr>
          <a:lstStyle/>
          <a:p>
            <a:pPr rtl="0"/>
            <a:r>
              <a:rPr lang="es-ES" dirty="0">
                <a:solidFill>
                  <a:schemeClr val="bg1"/>
                </a:solidFill>
              </a:rPr>
              <a:t>3/Junio/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43162C-F4D5-98DA-3B95-C3EF7B5B4E2D}"/>
              </a:ext>
            </a:extLst>
          </p:cNvPr>
          <p:cNvSpPr txBox="1"/>
          <p:nvPr/>
        </p:nvSpPr>
        <p:spPr>
          <a:xfrm>
            <a:off x="334557" y="4776760"/>
            <a:ext cx="6097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ister Eduard Duarte Sepúlveda</a:t>
            </a:r>
          </a:p>
        </p:txBody>
      </p:sp>
    </p:spTree>
    <p:extLst>
      <p:ext uri="{BB962C8B-B14F-4D97-AF65-F5344CB8AC3E}">
        <p14:creationId xmlns:p14="http://schemas.microsoft.com/office/powerpoint/2010/main" val="27458289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8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rtl="0"/>
            <a:fld id="{19B51A1E-902D-48AF-9020-955120F399B6}" type="slidenum">
              <a:rPr lang="es-ES" noProof="0" smtClean="0"/>
              <a:pPr rtl="0"/>
              <a:t>10</a:t>
            </a:fld>
            <a:endParaRPr lang="es-ES" noProof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2100" y="0"/>
            <a:ext cx="8566175" cy="6394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85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ie de página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rtl="0"/>
            <a:r>
              <a:rPr lang="es-ES" noProof="0"/>
              <a:t>Agregue un pie de página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rtl="0"/>
            <a:fld id="{19B51A1E-902D-48AF-9020-955120F399B6}" type="slidenum">
              <a:rPr lang="es-ES" noProof="0" smtClean="0"/>
              <a:pPr rtl="0"/>
              <a:t>11</a:t>
            </a:fld>
            <a:endParaRPr lang="es-ES" noProof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7641" y="0"/>
            <a:ext cx="8520205" cy="637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216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A680F1D-B1CE-2E70-E189-ABF0F4DE5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Identificar que necesita el cliente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3235E2A0-67D4-080B-8A1B-2F08F9062AB9}"/>
              </a:ext>
            </a:extLst>
          </p:cNvPr>
          <p:cNvSpPr>
            <a:spLocks noGrp="1" noChangeAspect="1" noChangeArrowheads="1"/>
          </p:cNvSpPr>
          <p:nvPr>
            <p:ph type="subTitle" idx="1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s-CO" dirty="0"/>
              <a:t>Creando valor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9A36055-0D4E-2178-2948-BBAF2402FDBC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817023" y="1200089"/>
            <a:ext cx="8557954" cy="49756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457200" tIns="228600" rIns="0" bIns="2540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 err="1">
                <a:solidFill>
                  <a:schemeClr val="tx2"/>
                </a:solidFill>
                <a:latin typeface="Arial"/>
              </a:rPr>
              <a:t>Identificación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campo de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juego</a:t>
            </a: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lphaUcPeriod"/>
            </a:pPr>
            <a:r>
              <a:rPr lang="en-US" sz="1800" dirty="0" err="1">
                <a:solidFill>
                  <a:schemeClr val="tx2"/>
                </a:solidFill>
                <a:latin typeface="Arial"/>
              </a:rPr>
              <a:t>Brechas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de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experiencia</a:t>
            </a: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lphaUcPeriod"/>
            </a:pPr>
            <a:r>
              <a:rPr lang="en-US" sz="1800" dirty="0" err="1">
                <a:solidFill>
                  <a:schemeClr val="tx2"/>
                </a:solidFill>
                <a:latin typeface="Arial"/>
              </a:rPr>
              <a:t>Adyacencia</a:t>
            </a: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lphaUcPeriod"/>
            </a:pPr>
            <a:r>
              <a:rPr lang="en-US" sz="1800" dirty="0">
                <a:solidFill>
                  <a:schemeClr val="tx2"/>
                </a:solidFill>
                <a:latin typeface="Arial"/>
              </a:rPr>
              <a:t>Espacio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en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blanco</a:t>
            </a: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lphaUcPeriod"/>
            </a:pP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457200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 err="1">
                <a:solidFill>
                  <a:schemeClr val="tx2"/>
                </a:solidFill>
                <a:latin typeface="Arial"/>
              </a:rPr>
              <a:t>Modelado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de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negocio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</a:t>
            </a: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>
                <a:solidFill>
                  <a:schemeClr val="tx2"/>
                </a:solidFill>
                <a:latin typeface="Arial"/>
              </a:rPr>
              <a:t>Job to be done (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situación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&gt;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deseo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&gt;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resultado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)</a:t>
            </a: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>
                <a:solidFill>
                  <a:schemeClr val="tx2"/>
                </a:solidFill>
                <a:latin typeface="Arial"/>
              </a:rPr>
              <a:t>Customer value proposition</a:t>
            </a: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>
                <a:solidFill>
                  <a:schemeClr val="tx2"/>
                </a:solidFill>
                <a:latin typeface="Arial"/>
              </a:rPr>
              <a:t>Business model Canvas</a:t>
            </a:r>
          </a:p>
          <a:p>
            <a:pPr marL="457200" indent="-457200">
              <a:spcBef>
                <a:spcPts val="0"/>
              </a:spcBef>
              <a:buSzPct val="100000"/>
              <a:buFont typeface="+mj-lt"/>
              <a:buAutoNum type="arabicPeriod"/>
            </a:pP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457200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 err="1">
                <a:solidFill>
                  <a:schemeClr val="tx2"/>
                </a:solidFill>
                <a:latin typeface="Arial"/>
              </a:rPr>
              <a:t>Modelado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de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experiencia</a:t>
            </a: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>
                <a:solidFill>
                  <a:schemeClr val="tx2"/>
                </a:solidFill>
                <a:latin typeface="Arial"/>
              </a:rPr>
              <a:t>Customer Journey	</a:t>
            </a: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 err="1">
                <a:solidFill>
                  <a:schemeClr val="tx2"/>
                </a:solidFill>
                <a:latin typeface="Arial"/>
              </a:rPr>
              <a:t>Prototipos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(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baja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,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alta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)</a:t>
            </a: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en-US" sz="1800" dirty="0" err="1">
                <a:solidFill>
                  <a:schemeClr val="tx2"/>
                </a:solidFill>
                <a:latin typeface="Arial"/>
              </a:rPr>
              <a:t>Análisis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de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canales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– 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funcionalidades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 (</a:t>
            </a:r>
            <a:r>
              <a:rPr lang="en-US" sz="1800" dirty="0" err="1">
                <a:solidFill>
                  <a:schemeClr val="tx2"/>
                </a:solidFill>
                <a:latin typeface="Arial"/>
              </a:rPr>
              <a:t>trayectorias</a:t>
            </a:r>
            <a:r>
              <a:rPr lang="en-US" sz="1800" dirty="0">
                <a:solidFill>
                  <a:schemeClr val="tx2"/>
                </a:solidFill>
                <a:latin typeface="Arial"/>
              </a:rPr>
              <a:t>)</a:t>
            </a:r>
          </a:p>
          <a:p>
            <a:pPr marL="457200" indent="-457200">
              <a:spcBef>
                <a:spcPts val="0"/>
              </a:spcBef>
              <a:buSzPct val="100000"/>
              <a:buFont typeface="+mj-lt"/>
              <a:buAutoNum type="arabicPeriod"/>
            </a:pPr>
            <a:endParaRPr lang="en-US" sz="1800" dirty="0">
              <a:solidFill>
                <a:schemeClr val="tx2"/>
              </a:solidFill>
              <a:latin typeface="Arial"/>
            </a:endParaRPr>
          </a:p>
          <a:p>
            <a:pPr marL="914400" lvl="1" indent="-457200">
              <a:spcBef>
                <a:spcPts val="0"/>
              </a:spcBef>
              <a:buSzPct val="100000"/>
              <a:buFont typeface="+mj-lt"/>
              <a:buAutoNum type="alphaUcPeriod"/>
            </a:pPr>
            <a:endParaRPr lang="en-US" sz="18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1187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04" y="419881"/>
            <a:ext cx="11754348" cy="5255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763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569" y="477956"/>
            <a:ext cx="11837870" cy="517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091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C2FA29FC-AFD6-A8E4-0102-926F878295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Creando Val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A047D8E-6D07-66D9-14AA-33CFDBCCB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¿Que queremos resolver? 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396C4B5-21F8-3704-16AF-A1BC606291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1049" y="3429000"/>
            <a:ext cx="9389900" cy="318451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7E1C04A9-08F2-90F5-D2C0-C3445E8EDA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4395" y="1258823"/>
            <a:ext cx="8663207" cy="217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974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B03A8BB-7F7C-9F44-4B27-F2282AC72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314" y="1268762"/>
            <a:ext cx="9797832" cy="5495366"/>
          </a:xfrm>
          <a:prstGeom prst="rect">
            <a:avLst/>
          </a:prstGeom>
        </p:spPr>
      </p:pic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>
          <a:xfrm>
            <a:off x="1784570" y="764706"/>
            <a:ext cx="9797832" cy="288032"/>
          </a:xfrm>
        </p:spPr>
        <p:txBody>
          <a:bodyPr/>
          <a:lstStyle/>
          <a:p>
            <a:r>
              <a:rPr lang="es-CO" dirty="0"/>
              <a:t>Propuesta de valo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/>
              <a:t>Que aprenderemos – Creando Valor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327C5-B821-4FE9-A59A-A60D9EB59A9A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034F087-B0FD-C5D4-140F-64EEA3AC2FEC}"/>
              </a:ext>
            </a:extLst>
          </p:cNvPr>
          <p:cNvSpPr/>
          <p:nvPr/>
        </p:nvSpPr>
        <p:spPr>
          <a:xfrm>
            <a:off x="5392994" y="664316"/>
            <a:ext cx="3429442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rear Valor  de negocio</a:t>
            </a:r>
          </a:p>
        </p:txBody>
      </p:sp>
    </p:spTree>
    <p:extLst>
      <p:ext uri="{BB962C8B-B14F-4D97-AF65-F5344CB8AC3E}">
        <p14:creationId xmlns:p14="http://schemas.microsoft.com/office/powerpoint/2010/main" val="6887002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BBAA3906-1461-F7EB-2BE9-922EBFC7829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Creando val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1BCDCCE-5E11-2DFA-D2E3-E5C8489FF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Ejemplo </a:t>
            </a:r>
            <a:r>
              <a:rPr lang="es-CO" dirty="0" err="1"/>
              <a:t>Value</a:t>
            </a:r>
            <a:r>
              <a:rPr lang="es-CO" dirty="0"/>
              <a:t> </a:t>
            </a:r>
            <a:r>
              <a:rPr lang="es-CO" dirty="0" err="1"/>
              <a:t>proposition</a:t>
            </a:r>
            <a:r>
              <a:rPr lang="es-CO" dirty="0"/>
              <a:t> </a:t>
            </a:r>
            <a:r>
              <a:rPr lang="es-CO" dirty="0" err="1"/>
              <a:t>canvas</a:t>
            </a:r>
            <a:endParaRPr lang="es-CO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A7C14CC-1063-72C5-8738-D655CE59CD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1269" y="1076878"/>
            <a:ext cx="8507570" cy="5167312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6A2C3A91-85F1-9C80-5A04-62CD306CE133}"/>
              </a:ext>
            </a:extLst>
          </p:cNvPr>
          <p:cNvSpPr/>
          <p:nvPr/>
        </p:nvSpPr>
        <p:spPr>
          <a:xfrm>
            <a:off x="8539717" y="3910288"/>
            <a:ext cx="1586987" cy="472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/>
              <a:t>Desplazarme a la casa</a:t>
            </a:r>
            <a:endParaRPr lang="es-CO" sz="1600" dirty="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0897A476-D143-B669-46D2-8495C84DC321}"/>
              </a:ext>
            </a:extLst>
          </p:cNvPr>
          <p:cNvSpPr/>
          <p:nvPr/>
        </p:nvSpPr>
        <p:spPr>
          <a:xfrm>
            <a:off x="6202304" y="4602516"/>
            <a:ext cx="1586987" cy="472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/>
              <a:t>Miedo a paseo millonario</a:t>
            </a:r>
            <a:endParaRPr lang="es-CO" sz="1600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7F3D24E-5376-390E-8B16-8E4E05E0D475}"/>
              </a:ext>
            </a:extLst>
          </p:cNvPr>
          <p:cNvSpPr/>
          <p:nvPr/>
        </p:nvSpPr>
        <p:spPr>
          <a:xfrm>
            <a:off x="6167417" y="5195590"/>
            <a:ext cx="2262690" cy="472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/>
              <a:t>No sabia nada distinto a la placa</a:t>
            </a:r>
            <a:endParaRPr lang="es-CO" sz="1600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67C58833-C9C8-5BEF-9547-D8A3EC59778C}"/>
              </a:ext>
            </a:extLst>
          </p:cNvPr>
          <p:cNvSpPr/>
          <p:nvPr/>
        </p:nvSpPr>
        <p:spPr>
          <a:xfrm>
            <a:off x="6881677" y="2648858"/>
            <a:ext cx="2262690" cy="472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/>
              <a:t>Saber los datos de quien me va recoger</a:t>
            </a:r>
            <a:endParaRPr lang="es-CO" sz="160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CC3A2B1F-8FD5-B37C-C746-5723311AAF58}"/>
              </a:ext>
            </a:extLst>
          </p:cNvPr>
          <p:cNvSpPr/>
          <p:nvPr/>
        </p:nvSpPr>
        <p:spPr>
          <a:xfrm>
            <a:off x="6824755" y="3286001"/>
            <a:ext cx="2850257" cy="472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/>
              <a:t>Saber el tiempo que se demora en llegar y el costo</a:t>
            </a:r>
            <a:endParaRPr lang="es-CO" sz="1600" dirty="0"/>
          </a:p>
        </p:txBody>
      </p:sp>
      <p:sp>
        <p:nvSpPr>
          <p:cNvPr id="10" name="Rectángulo redondeado 4">
            <a:extLst>
              <a:ext uri="{FF2B5EF4-FFF2-40B4-BE49-F238E27FC236}">
                <a16:creationId xmlns:a16="http://schemas.microsoft.com/office/drawing/2014/main" id="{D56C4053-A798-181E-2941-4035B41E4090}"/>
              </a:ext>
            </a:extLst>
          </p:cNvPr>
          <p:cNvSpPr/>
          <p:nvPr/>
        </p:nvSpPr>
        <p:spPr>
          <a:xfrm>
            <a:off x="1434397" y="3941666"/>
            <a:ext cx="1961002" cy="484742"/>
          </a:xfrm>
          <a:prstGeom prst="roundRect">
            <a:avLst>
              <a:gd name="adj" fmla="val 9849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Desplazamiento efectivo</a:t>
            </a:r>
            <a:endParaRPr lang="es-CO" dirty="0"/>
          </a:p>
        </p:txBody>
      </p: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DD163BD2-98AE-E43C-6B60-90EB19399C57}"/>
              </a:ext>
            </a:extLst>
          </p:cNvPr>
          <p:cNvSpPr/>
          <p:nvPr/>
        </p:nvSpPr>
        <p:spPr>
          <a:xfrm>
            <a:off x="3922373" y="4611859"/>
            <a:ext cx="1961002" cy="484742"/>
          </a:xfrm>
          <a:prstGeom prst="roundRect">
            <a:avLst>
              <a:gd name="adj" fmla="val 9849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Conductores certificados</a:t>
            </a:r>
            <a:endParaRPr lang="es-CO" dirty="0"/>
          </a:p>
        </p:txBody>
      </p:sp>
      <p:sp>
        <p:nvSpPr>
          <p:cNvPr id="12" name="Rectángulo redondeado 11">
            <a:extLst>
              <a:ext uri="{FF2B5EF4-FFF2-40B4-BE49-F238E27FC236}">
                <a16:creationId xmlns:a16="http://schemas.microsoft.com/office/drawing/2014/main" id="{C4BC9851-7B29-6DA0-310C-4F5B6C172E4F}"/>
              </a:ext>
            </a:extLst>
          </p:cNvPr>
          <p:cNvSpPr/>
          <p:nvPr/>
        </p:nvSpPr>
        <p:spPr>
          <a:xfrm>
            <a:off x="3931554" y="5204934"/>
            <a:ext cx="1961002" cy="484742"/>
          </a:xfrm>
          <a:prstGeom prst="roundRect">
            <a:avLst>
              <a:gd name="adj" fmla="val 9849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 err="1"/>
              <a:t>Decia</a:t>
            </a:r>
            <a:r>
              <a:rPr lang="es-ES" sz="1200" dirty="0"/>
              <a:t> foto y el nombre del conductor</a:t>
            </a:r>
            <a:endParaRPr lang="es-CO" sz="1200" dirty="0"/>
          </a:p>
        </p:txBody>
      </p:sp>
      <p:sp>
        <p:nvSpPr>
          <p:cNvPr id="13" name="Rectángulo redondeado 12">
            <a:extLst>
              <a:ext uri="{FF2B5EF4-FFF2-40B4-BE49-F238E27FC236}">
                <a16:creationId xmlns:a16="http://schemas.microsoft.com/office/drawing/2014/main" id="{69B78D76-04A8-0A9F-81C0-996B8AC811BF}"/>
              </a:ext>
            </a:extLst>
          </p:cNvPr>
          <p:cNvSpPr/>
          <p:nvPr/>
        </p:nvSpPr>
        <p:spPr>
          <a:xfrm>
            <a:off x="3534946" y="2649020"/>
            <a:ext cx="1961002" cy="484742"/>
          </a:xfrm>
          <a:prstGeom prst="roundRect">
            <a:avLst>
              <a:gd name="adj" fmla="val 9849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/>
              <a:t>Nombre del conductor, carro, etc</a:t>
            </a:r>
            <a:endParaRPr lang="es-CO" sz="1400" dirty="0"/>
          </a:p>
        </p:txBody>
      </p:sp>
      <p:sp>
        <p:nvSpPr>
          <p:cNvPr id="14" name="Rectángulo redondeado 13">
            <a:extLst>
              <a:ext uri="{FF2B5EF4-FFF2-40B4-BE49-F238E27FC236}">
                <a16:creationId xmlns:a16="http://schemas.microsoft.com/office/drawing/2014/main" id="{51A7E125-1DE3-0B63-1DFB-D8ABDE902A6A}"/>
              </a:ext>
            </a:extLst>
          </p:cNvPr>
          <p:cNvSpPr/>
          <p:nvPr/>
        </p:nvSpPr>
        <p:spPr>
          <a:xfrm>
            <a:off x="3544127" y="3242095"/>
            <a:ext cx="1961002" cy="484742"/>
          </a:xfrm>
          <a:prstGeom prst="roundRect">
            <a:avLst>
              <a:gd name="adj" fmla="val 9849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Tiempo en que llega, costo previamente, etc</a:t>
            </a: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30483952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>
          <a:xfrm>
            <a:off x="1784570" y="764706"/>
            <a:ext cx="9797832" cy="288032"/>
          </a:xfrm>
        </p:spPr>
        <p:txBody>
          <a:bodyPr/>
          <a:lstStyle/>
          <a:p>
            <a:r>
              <a:rPr lang="es-CO" dirty="0"/>
              <a:t>Propuesta de valo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/>
              <a:t>Que aprenderemos – Creando Valor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327C5-B821-4FE9-A59A-A60D9EB59A9A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034F087-B0FD-C5D4-140F-64EEA3AC2FEC}"/>
              </a:ext>
            </a:extLst>
          </p:cNvPr>
          <p:cNvSpPr/>
          <p:nvPr/>
        </p:nvSpPr>
        <p:spPr>
          <a:xfrm>
            <a:off x="5392994" y="664316"/>
            <a:ext cx="3429442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rear Valor  de negocio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0BB0C4E-C311-D37C-F3E3-31BD3C947132}"/>
              </a:ext>
            </a:extLst>
          </p:cNvPr>
          <p:cNvSpPr txBox="1"/>
          <p:nvPr/>
        </p:nvSpPr>
        <p:spPr>
          <a:xfrm>
            <a:off x="1622524" y="638774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dirty="0">
                <a:hlinkClick r:id="rId3"/>
              </a:rPr>
              <a:t>https://edit.org/edit/all/1jhnsq</a:t>
            </a:r>
            <a:endParaRPr lang="es-CO" dirty="0"/>
          </a:p>
          <a:p>
            <a:endParaRPr lang="es-CO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761AFE2-3B2D-812D-A21D-2D4CFBC77D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4570" y="1338782"/>
            <a:ext cx="7712108" cy="476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792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>
          <a:xfrm>
            <a:off x="1784570" y="764706"/>
            <a:ext cx="9797832" cy="288032"/>
          </a:xfrm>
        </p:spPr>
        <p:txBody>
          <a:bodyPr/>
          <a:lstStyle/>
          <a:p>
            <a:r>
              <a:rPr lang="es-CO" dirty="0"/>
              <a:t>Propuesta de valo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/>
              <a:t>Que aprenderemos – Creando Valor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327C5-B821-4FE9-A59A-A60D9EB59A9A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034F087-B0FD-C5D4-140F-64EEA3AC2FEC}"/>
              </a:ext>
            </a:extLst>
          </p:cNvPr>
          <p:cNvSpPr/>
          <p:nvPr/>
        </p:nvSpPr>
        <p:spPr>
          <a:xfrm>
            <a:off x="5392994" y="664316"/>
            <a:ext cx="3429442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rear Valor  de negoci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E7F6936-9C3D-B0FA-17E1-772BECDE64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4426" y="1382318"/>
            <a:ext cx="8553217" cy="4396757"/>
          </a:xfrm>
          <a:prstGeom prst="rect">
            <a:avLst/>
          </a:prstGeom>
        </p:spPr>
      </p:pic>
      <p:sp>
        <p:nvSpPr>
          <p:cNvPr id="5" name="Rectángulo redondeado 5">
            <a:extLst>
              <a:ext uri="{FF2B5EF4-FFF2-40B4-BE49-F238E27FC236}">
                <a16:creationId xmlns:a16="http://schemas.microsoft.com/office/drawing/2014/main" id="{5783FBC0-7320-08F1-CAC2-C8E6CBD866B6}"/>
              </a:ext>
            </a:extLst>
          </p:cNvPr>
          <p:cNvSpPr/>
          <p:nvPr/>
        </p:nvSpPr>
        <p:spPr>
          <a:xfrm>
            <a:off x="3642831" y="5888318"/>
            <a:ext cx="6081310" cy="440674"/>
          </a:xfrm>
          <a:prstGeom prst="roundRect">
            <a:avLst>
              <a:gd name="adj" fmla="val 7051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/>
              <a:t>Naturaleza de cliente</a:t>
            </a:r>
            <a:endParaRPr lang="es-CO" b="1"/>
          </a:p>
        </p:txBody>
      </p:sp>
      <p:sp>
        <p:nvSpPr>
          <p:cNvPr id="6" name="Rectángulo redondeado 6">
            <a:extLst>
              <a:ext uri="{FF2B5EF4-FFF2-40B4-BE49-F238E27FC236}">
                <a16:creationId xmlns:a16="http://schemas.microsoft.com/office/drawing/2014/main" id="{7EC334F6-5990-F0AF-DC44-D59D06A6F265}"/>
              </a:ext>
            </a:extLst>
          </p:cNvPr>
          <p:cNvSpPr/>
          <p:nvPr/>
        </p:nvSpPr>
        <p:spPr>
          <a:xfrm rot="16200000">
            <a:off x="-698383" y="3520616"/>
            <a:ext cx="4076244" cy="440674"/>
          </a:xfrm>
          <a:prstGeom prst="roundRect">
            <a:avLst>
              <a:gd name="adj" fmla="val 7051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/>
              <a:t>Naturaleza de la oportunidad</a:t>
            </a:r>
            <a:endParaRPr lang="es-CO" b="1" dirty="0"/>
          </a:p>
        </p:txBody>
      </p:sp>
    </p:spTree>
    <p:extLst>
      <p:ext uri="{BB962C8B-B14F-4D97-AF65-F5344CB8AC3E}">
        <p14:creationId xmlns:p14="http://schemas.microsoft.com/office/powerpoint/2010/main" val="2112486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>
          <a:xfrm>
            <a:off x="1784570" y="764706"/>
            <a:ext cx="9797832" cy="288032"/>
          </a:xfrm>
        </p:spPr>
        <p:txBody>
          <a:bodyPr/>
          <a:lstStyle/>
          <a:p>
            <a:r>
              <a:rPr lang="es-CO" dirty="0"/>
              <a:t>Creando Valo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/>
              <a:t>Nada es grati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327C5-B821-4FE9-A59A-A60D9EB59A9A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026" name="Picture 2" descr="Alternative Investing: No Free Lunch | Seeking Alpha">
            <a:extLst>
              <a:ext uri="{FF2B5EF4-FFF2-40B4-BE49-F238E27FC236}">
                <a16:creationId xmlns:a16="http://schemas.microsoft.com/office/drawing/2014/main" id="{44C7A613-4085-E6B7-F913-BDBF59AFB9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104" y="1223962"/>
            <a:ext cx="7611857" cy="533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41943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"/>
            <a:ext cx="12192001" cy="689731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CE9715-C4EA-4F7D-A75F-3B21507C8E2C}"/>
              </a:ext>
            </a:extLst>
          </p:cNvPr>
          <p:cNvSpPr txBox="1"/>
          <p:nvPr/>
        </p:nvSpPr>
        <p:spPr>
          <a:xfrm>
            <a:off x="4964906" y="1038225"/>
            <a:ext cx="2262188" cy="40862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endParaRPr lang="es-CO" sz="1000"/>
          </a:p>
          <a:p>
            <a:endParaRPr lang="es-CO" sz="1000"/>
          </a:p>
          <a:p>
            <a:endParaRPr lang="es-CO" sz="1000"/>
          </a:p>
          <a:p>
            <a:endParaRPr lang="es-CO" sz="1000"/>
          </a:p>
          <a:p>
            <a:endParaRPr lang="es-CO" sz="1000"/>
          </a:p>
          <a:p>
            <a:r>
              <a:rPr lang="es-CO" sz="1000"/>
              <a:t>Módulo de intermediación en Compra/Venta de Criptoactivos </a:t>
            </a:r>
          </a:p>
          <a:p>
            <a:r>
              <a:rPr lang="es-CO" sz="1000"/>
              <a:t>Seguridad, confianza y respaldo de cada una de las transacciones.</a:t>
            </a:r>
          </a:p>
          <a:p>
            <a:endParaRPr lang="en-US" sz="1000"/>
          </a:p>
          <a:p>
            <a:endParaRPr lang="en-US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EBCDDD-77B7-4D35-A102-6B6A28679048}"/>
              </a:ext>
            </a:extLst>
          </p:cNvPr>
          <p:cNvSpPr txBox="1"/>
          <p:nvPr/>
        </p:nvSpPr>
        <p:spPr>
          <a:xfrm>
            <a:off x="2595562" y="1038225"/>
            <a:ext cx="2262188" cy="17907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s-CO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/>
              <a:t>Conocer al cliente (ambos segmentos) mediante su ADN digital</a:t>
            </a:r>
          </a:p>
          <a:p>
            <a:pPr marL="171450" indent="-171450">
              <a:buFontTx/>
              <a:buChar char="-"/>
            </a:pPr>
            <a:r>
              <a:rPr lang="es-CO" sz="1000"/>
              <a:t>Conocer el origen del efectivo </a:t>
            </a:r>
          </a:p>
          <a:p>
            <a:pPr marL="171450" indent="-171450">
              <a:buFontTx/>
              <a:buChar char="-"/>
            </a:pPr>
            <a:r>
              <a:rPr lang="es-CO" sz="1000"/>
              <a:t>Co crear la Plataforma con los usuarios para que indiquen qué servicios o mejoras quieren hacer</a:t>
            </a:r>
          </a:p>
          <a:p>
            <a:pPr marL="171450" indent="-171450">
              <a:buFontTx/>
              <a:buChar char="-"/>
            </a:pPr>
            <a:r>
              <a:rPr lang="es-CO" sz="1000"/>
              <a:t>Prevención de Fraudes</a:t>
            </a:r>
          </a:p>
          <a:p>
            <a:pPr marL="171450" indent="-171450">
              <a:buFontTx/>
              <a:buChar char="-"/>
            </a:pPr>
            <a:r>
              <a:rPr lang="es-CO" sz="1000"/>
              <a:t>SARLAFT</a:t>
            </a:r>
          </a:p>
          <a:p>
            <a:endParaRPr lang="es-CO" sz="10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52E26D-99BE-4DD0-AE25-EDD9BC644EB2}"/>
              </a:ext>
            </a:extLst>
          </p:cNvPr>
          <p:cNvSpPr txBox="1"/>
          <p:nvPr/>
        </p:nvSpPr>
        <p:spPr>
          <a:xfrm>
            <a:off x="2595562" y="3244480"/>
            <a:ext cx="2262188" cy="18799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buFontTx/>
              <a:buChar char="-"/>
            </a:pPr>
            <a:r>
              <a:rPr lang="es-CO" sz="1000"/>
              <a:t>UX de la Aplicación Móvil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Integración con Cuentas digitales de terceros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Cadenas de Bloques tipo Consorcio para rastrear los orígenes del activo digital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IA para el </a:t>
            </a:r>
            <a:r>
              <a:rPr lang="es-CO" sz="1000" b="1" err="1">
                <a:solidFill>
                  <a:srgbClr val="00B050"/>
                </a:solidFill>
              </a:rPr>
              <a:t>chatBot</a:t>
            </a:r>
            <a:endParaRPr lang="es-CO" sz="1000" b="1">
              <a:solidFill>
                <a:srgbClr val="00B050"/>
              </a:solidFill>
            </a:endParaRPr>
          </a:p>
          <a:p>
            <a:pPr marL="171450" indent="-171450">
              <a:buFontTx/>
              <a:buChar char="-"/>
            </a:pPr>
            <a:r>
              <a:rPr lang="es-CO" sz="1000"/>
              <a:t>MFA/ OTP/ Autenticación Biométrica</a:t>
            </a:r>
          </a:p>
          <a:p>
            <a:pPr marL="171450" indent="-171450">
              <a:buFontTx/>
              <a:buChar char="-"/>
            </a:pPr>
            <a:endParaRPr lang="es-CO" sz="1000"/>
          </a:p>
          <a:p>
            <a:pPr marL="171450" indent="-171450">
              <a:buFontTx/>
              <a:buChar char="-"/>
            </a:pPr>
            <a:endParaRPr lang="en-US" sz="1000"/>
          </a:p>
          <a:p>
            <a:pPr marL="171450" indent="-171450">
              <a:buFontTx/>
              <a:buChar char="-"/>
            </a:pPr>
            <a:endParaRPr lang="en-US" sz="1000"/>
          </a:p>
          <a:p>
            <a:endParaRPr lang="en-US" sz="10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F942C8-A562-4979-B9D1-E4EEC94CAEF2}"/>
              </a:ext>
            </a:extLst>
          </p:cNvPr>
          <p:cNvSpPr txBox="1"/>
          <p:nvPr/>
        </p:nvSpPr>
        <p:spPr>
          <a:xfrm>
            <a:off x="211930" y="1152525"/>
            <a:ext cx="2262188" cy="39719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r>
              <a:rPr lang="es-CO" sz="1000"/>
              <a:t>Escriba aquí…</a:t>
            </a:r>
          </a:p>
          <a:p>
            <a:endParaRPr lang="es-CO" sz="1000"/>
          </a:p>
          <a:p>
            <a:endParaRPr lang="es-CO" sz="1000"/>
          </a:p>
          <a:p>
            <a:pPr marL="171450" indent="-171450">
              <a:buFontTx/>
              <a:buChar char="-"/>
            </a:pPr>
            <a:r>
              <a:rPr lang="es-CO" sz="1000"/>
              <a:t>Proveedores de telefonía celular</a:t>
            </a:r>
          </a:p>
          <a:p>
            <a:pPr marL="171450" indent="-171450">
              <a:buFontTx/>
              <a:buChar char="-"/>
            </a:pPr>
            <a:r>
              <a:rPr lang="es-CO" sz="1000" err="1"/>
              <a:t>Brokers</a:t>
            </a:r>
            <a:r>
              <a:rPr lang="es-CO" sz="1000"/>
              <a:t> de </a:t>
            </a:r>
            <a:r>
              <a:rPr lang="es-CO" sz="1000" err="1"/>
              <a:t>CriptoActivos</a:t>
            </a:r>
            <a:endParaRPr lang="es-CO" sz="1000"/>
          </a:p>
          <a:p>
            <a:pPr marL="171450" indent="-171450">
              <a:buFontTx/>
              <a:buChar char="-"/>
            </a:pPr>
            <a:r>
              <a:rPr lang="es-CO" sz="1000">
                <a:solidFill>
                  <a:srgbClr val="00B050"/>
                </a:solidFill>
              </a:rPr>
              <a:t>Billeteras Digitales</a:t>
            </a:r>
          </a:p>
          <a:p>
            <a:endParaRPr lang="en-US" sz="1000"/>
          </a:p>
          <a:p>
            <a:pPr marL="171450" indent="-171450">
              <a:buFontTx/>
              <a:buChar char="-"/>
            </a:pPr>
            <a:endParaRPr lang="en-US" sz="1000"/>
          </a:p>
          <a:p>
            <a:pPr marL="171450" indent="-171450">
              <a:buFontTx/>
              <a:buChar char="-"/>
            </a:pPr>
            <a:endParaRPr lang="en-US" sz="10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9EBEC0-BDA6-41EC-805A-6D9093D50E32}"/>
              </a:ext>
            </a:extLst>
          </p:cNvPr>
          <p:cNvSpPr txBox="1"/>
          <p:nvPr/>
        </p:nvSpPr>
        <p:spPr>
          <a:xfrm>
            <a:off x="211930" y="5495925"/>
            <a:ext cx="5636420" cy="12382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endParaRPr lang="es-CO" sz="1000"/>
          </a:p>
          <a:p>
            <a:pPr marL="171450" indent="-171450">
              <a:buFontTx/>
              <a:buChar char="-"/>
            </a:pPr>
            <a:r>
              <a:rPr lang="es-CO" sz="1000"/>
              <a:t>Diseño</a:t>
            </a:r>
            <a:r>
              <a:rPr lang="en-US" sz="1000"/>
              <a:t>, </a:t>
            </a:r>
            <a:r>
              <a:rPr lang="es-CO" sz="1000"/>
              <a:t>Mantenimiento y despliegue de la aplicación</a:t>
            </a:r>
          </a:p>
          <a:p>
            <a:pPr marL="171450" indent="-171450">
              <a:buFontTx/>
              <a:buChar char="-"/>
            </a:pPr>
            <a:r>
              <a:rPr lang="es-CO" sz="1000"/>
              <a:t>Procesamiento de los datos de los usuarios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Infraestructura Cloud que se integre con las cadenas de confianza distribuida y tenga permisos para crear registros en los </a:t>
            </a:r>
            <a:r>
              <a:rPr lang="es-CO" sz="1000" b="1" err="1">
                <a:solidFill>
                  <a:srgbClr val="00B050"/>
                </a:solidFill>
              </a:rPr>
              <a:t>layers</a:t>
            </a:r>
            <a:endParaRPr lang="es-CO" sz="1000" b="1">
              <a:solidFill>
                <a:srgbClr val="00B050"/>
              </a:solidFill>
            </a:endParaRP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Integración con Infraestructura </a:t>
            </a:r>
            <a:r>
              <a:rPr lang="es-CO" sz="1000" b="1" err="1">
                <a:solidFill>
                  <a:srgbClr val="00B050"/>
                </a:solidFill>
              </a:rPr>
              <a:t>On</a:t>
            </a:r>
            <a:r>
              <a:rPr lang="es-CO" sz="1000" b="1">
                <a:solidFill>
                  <a:srgbClr val="00B050"/>
                </a:solidFill>
              </a:rPr>
              <a:t> Premise (API)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Valor  por Consultas por API de la IA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Pagos por el movimiento del dinero a las cuentas digitales</a:t>
            </a:r>
          </a:p>
          <a:p>
            <a:endParaRPr lang="en-US" sz="10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071F03-21B3-4118-BE57-6255A7B1C274}"/>
              </a:ext>
            </a:extLst>
          </p:cNvPr>
          <p:cNvSpPr txBox="1"/>
          <p:nvPr/>
        </p:nvSpPr>
        <p:spPr>
          <a:xfrm>
            <a:off x="6201964" y="5495925"/>
            <a:ext cx="5778105" cy="12382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endParaRPr lang="es-CO" sz="1000"/>
          </a:p>
          <a:p>
            <a:endParaRPr lang="en-US" sz="1000"/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Comisiones por trading de </a:t>
            </a:r>
            <a:r>
              <a:rPr lang="es-CO" sz="1000" b="1" err="1">
                <a:solidFill>
                  <a:srgbClr val="00B050"/>
                </a:solidFill>
              </a:rPr>
              <a:t>criptoactivos</a:t>
            </a:r>
            <a:endParaRPr lang="es-CO" sz="1000" b="1">
              <a:solidFill>
                <a:srgbClr val="00B05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28A8A9-A430-45DF-BD1A-6CA6DC843140}"/>
              </a:ext>
            </a:extLst>
          </p:cNvPr>
          <p:cNvSpPr txBox="1"/>
          <p:nvPr/>
        </p:nvSpPr>
        <p:spPr>
          <a:xfrm>
            <a:off x="7334250" y="1038225"/>
            <a:ext cx="2262188" cy="17907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endParaRPr lang="en-US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Canales </a:t>
            </a:r>
            <a:r>
              <a:rPr lang="es-CO" sz="1000"/>
              <a:t>de Atención al cliente (CX), </a:t>
            </a:r>
            <a:r>
              <a:rPr lang="es-CO" sz="1000" err="1"/>
              <a:t>ChatBot</a:t>
            </a:r>
            <a:endParaRPr lang="es-CO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>
                <a:solidFill>
                  <a:srgbClr val="00B050"/>
                </a:solidFill>
              </a:rPr>
              <a:t>Blog de Educación Financiera y Oportunidades de Inversión alimentado por la comunidad</a:t>
            </a:r>
          </a:p>
          <a:p>
            <a:endParaRPr lang="en-US" sz="1000"/>
          </a:p>
          <a:p>
            <a:pPr marL="171450" indent="-171450">
              <a:buFontTx/>
              <a:buChar char="-"/>
            </a:pPr>
            <a:endParaRPr lang="en-US" sz="1000"/>
          </a:p>
          <a:p>
            <a:pPr marL="171450" indent="-171450">
              <a:buFontTx/>
              <a:buChar char="-"/>
            </a:pPr>
            <a:endParaRPr lang="en-US" sz="10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E17D467-B507-436D-BB26-203824C004F1}"/>
              </a:ext>
            </a:extLst>
          </p:cNvPr>
          <p:cNvSpPr txBox="1"/>
          <p:nvPr/>
        </p:nvSpPr>
        <p:spPr>
          <a:xfrm>
            <a:off x="7334250" y="3267074"/>
            <a:ext cx="2262188" cy="1857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endParaRPr lang="en-US" sz="1000"/>
          </a:p>
          <a:p>
            <a:pPr marL="171450" indent="-171450">
              <a:buFontTx/>
              <a:buChar char="-"/>
            </a:pPr>
            <a:r>
              <a:rPr lang="es-CO" sz="1000"/>
              <a:t>Celulares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Billeteras Digitales con identificadores únicos por cliente</a:t>
            </a:r>
          </a:p>
          <a:p>
            <a:pPr marL="171450" indent="-171450">
              <a:buFontTx/>
              <a:buChar char="-"/>
            </a:pPr>
            <a:r>
              <a:rPr lang="es-CO" sz="1000" b="1">
                <a:solidFill>
                  <a:srgbClr val="00B050"/>
                </a:solidFill>
              </a:rPr>
              <a:t>Billeteras Digitales de terceros</a:t>
            </a:r>
          </a:p>
          <a:p>
            <a:pPr marL="171450" indent="-171450">
              <a:buFontTx/>
              <a:buChar char="-"/>
            </a:pPr>
            <a:endParaRPr lang="en-US" sz="1000"/>
          </a:p>
          <a:p>
            <a:endParaRPr lang="en-US" sz="10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9D3135-DBF5-422A-8096-04D548FBE87E}"/>
              </a:ext>
            </a:extLst>
          </p:cNvPr>
          <p:cNvSpPr txBox="1"/>
          <p:nvPr/>
        </p:nvSpPr>
        <p:spPr>
          <a:xfrm>
            <a:off x="9717881" y="1152525"/>
            <a:ext cx="2262188" cy="39719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endParaRPr lang="en-US" sz="1000"/>
          </a:p>
          <a:p>
            <a:endParaRPr lang="en-US" sz="1000"/>
          </a:p>
          <a:p>
            <a:r>
              <a:rPr lang="es-CO" sz="1000" b="1" err="1"/>
              <a:t>Seller</a:t>
            </a:r>
            <a:r>
              <a:rPr lang="es-CO" sz="1000" b="1"/>
              <a:t>: </a:t>
            </a:r>
            <a:r>
              <a:rPr lang="es-CO" sz="1000"/>
              <a:t>Usuarios de la Plataforma, entre 18  y 28 años , no tienen hijos, trabajan en el sector de tecnología, freelance o emprendedores digitales que trabajan para agencias en el exterior y les pagan en </a:t>
            </a:r>
            <a:r>
              <a:rPr lang="es-CO" sz="1000" err="1"/>
              <a:t>criptoactivos</a:t>
            </a:r>
            <a:r>
              <a:rPr lang="es-CO" sz="1000"/>
              <a:t>.</a:t>
            </a:r>
          </a:p>
          <a:p>
            <a:endParaRPr lang="en-US" sz="1000"/>
          </a:p>
          <a:p>
            <a:endParaRPr lang="en-US" sz="1000"/>
          </a:p>
          <a:p>
            <a:r>
              <a:rPr lang="es-CO" sz="1000" b="1" err="1"/>
              <a:t>Buyer</a:t>
            </a:r>
            <a:r>
              <a:rPr lang="es-CO" sz="1000"/>
              <a:t>: Usuario de la Plataforma entre 25 y 45 años, tiene un buen empleo que genera ganancias importantes y desea invertir de forma inteligente, para no depender de las variables del mercado, usualmente compraba en dólares.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397F979-8FA1-0496-3AA8-FFBC5D1B1987}"/>
              </a:ext>
            </a:extLst>
          </p:cNvPr>
          <p:cNvSpPr/>
          <p:nvPr/>
        </p:nvSpPr>
        <p:spPr>
          <a:xfrm>
            <a:off x="0" y="123825"/>
            <a:ext cx="4857750" cy="465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2CECF6DC-7C42-0378-8E20-A80C59205CE2}"/>
              </a:ext>
            </a:extLst>
          </p:cNvPr>
          <p:cNvSpPr/>
          <p:nvPr/>
        </p:nvSpPr>
        <p:spPr>
          <a:xfrm>
            <a:off x="4954757" y="300265"/>
            <a:ext cx="7025311" cy="46536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/>
              <a:t>CREAR VALOR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D931BEC8-C1D1-A285-874C-68C02BF111EC}"/>
              </a:ext>
            </a:extLst>
          </p:cNvPr>
          <p:cNvSpPr/>
          <p:nvPr/>
        </p:nvSpPr>
        <p:spPr>
          <a:xfrm>
            <a:off x="4402189" y="6280847"/>
            <a:ext cx="3387621" cy="465363"/>
          </a:xfrm>
          <a:prstGeom prst="rect">
            <a:avLst/>
          </a:prstGeom>
          <a:solidFill>
            <a:srgbClr val="FE0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/>
              <a:t>CAPTURAR VALOR</a:t>
            </a: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9F9E4A7F-0504-C5FF-25FC-32CC9D118EF3}"/>
              </a:ext>
            </a:extLst>
          </p:cNvPr>
          <p:cNvSpPr/>
          <p:nvPr/>
        </p:nvSpPr>
        <p:spPr>
          <a:xfrm>
            <a:off x="209067" y="291193"/>
            <a:ext cx="4505212" cy="465363"/>
          </a:xfrm>
          <a:prstGeom prst="rect">
            <a:avLst/>
          </a:prstGeom>
          <a:solidFill>
            <a:srgbClr val="FFC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/>
              <a:t>ENTREGAR VALOR</a:t>
            </a:r>
          </a:p>
        </p:txBody>
      </p:sp>
    </p:spTree>
    <p:extLst>
      <p:ext uri="{BB962C8B-B14F-4D97-AF65-F5344CB8AC3E}">
        <p14:creationId xmlns:p14="http://schemas.microsoft.com/office/powerpoint/2010/main" val="19737699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"/>
            <a:ext cx="12192001" cy="689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47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DE4027D0-B462-7511-6D37-5926CE30EE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Creando Val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CD8E4AE-54BC-B54F-1B2C-3494B3232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Bussines</a:t>
            </a:r>
            <a:r>
              <a:rPr lang="es-CO" dirty="0"/>
              <a:t> </a:t>
            </a:r>
            <a:r>
              <a:rPr lang="es-CO" dirty="0" err="1"/>
              <a:t>canvas</a:t>
            </a:r>
            <a:r>
              <a:rPr lang="es-CO" dirty="0"/>
              <a:t> </a:t>
            </a:r>
            <a:r>
              <a:rPr lang="es-CO" dirty="0" err="1"/>
              <a:t>model</a:t>
            </a:r>
            <a:endParaRPr lang="es-CO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9CA663EB-978E-4321-2550-B7B4566AA9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570" y="659765"/>
            <a:ext cx="7628281" cy="5433531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81FAEE21-B7D9-113A-4CBB-780C9F3A7389}"/>
              </a:ext>
            </a:extLst>
          </p:cNvPr>
          <p:cNvSpPr txBox="1"/>
          <p:nvPr/>
        </p:nvSpPr>
        <p:spPr>
          <a:xfrm>
            <a:off x="1784570" y="6236635"/>
            <a:ext cx="98715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hlinkClick r:id="rId3"/>
              </a:rPr>
              <a:t>https://edit.org/edit/all/255wgdzsq</a:t>
            </a:r>
            <a:endParaRPr lang="es-CO" dirty="0"/>
          </a:p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950096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09A12E75-E3FC-6899-7B9E-B0487F4891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45337" y="120301"/>
            <a:ext cx="9797832" cy="288032"/>
          </a:xfrm>
        </p:spPr>
        <p:txBody>
          <a:bodyPr/>
          <a:lstStyle/>
          <a:p>
            <a:r>
              <a:rPr lang="es-CO" dirty="0"/>
              <a:t>Capturando Valor $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9E39D0-2693-2775-E062-10730F92E5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378" y="2128958"/>
            <a:ext cx="10107208" cy="4464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2 Rectángulo">
            <a:extLst>
              <a:ext uri="{FF2B5EF4-FFF2-40B4-BE49-F238E27FC236}">
                <a16:creationId xmlns:a16="http://schemas.microsoft.com/office/drawing/2014/main" id="{CBD37349-CEAD-BAE1-0E60-384DE6A95CDF}"/>
              </a:ext>
            </a:extLst>
          </p:cNvPr>
          <p:cNvSpPr/>
          <p:nvPr/>
        </p:nvSpPr>
        <p:spPr>
          <a:xfrm>
            <a:off x="1535378" y="437735"/>
            <a:ext cx="9350477" cy="1478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" name="6 CuadroTexto">
            <a:extLst>
              <a:ext uri="{FF2B5EF4-FFF2-40B4-BE49-F238E27FC236}">
                <a16:creationId xmlns:a16="http://schemas.microsoft.com/office/drawing/2014/main" id="{BF94F205-29B7-EA6B-E02D-47C3B9FC0EB2}"/>
              </a:ext>
            </a:extLst>
          </p:cNvPr>
          <p:cNvSpPr txBox="1"/>
          <p:nvPr/>
        </p:nvSpPr>
        <p:spPr>
          <a:xfrm>
            <a:off x="3385805" y="1538617"/>
            <a:ext cx="7348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  <a:buClr>
                <a:srgbClr val="F18E00"/>
              </a:buClr>
            </a:pPr>
            <a:r>
              <a:rPr lang="es-CO" sz="1400" b="1" dirty="0">
                <a:latin typeface="Arial Narrow" panose="020B0606020202030204" pitchFamily="34" charset="0"/>
              </a:rPr>
              <a:t>Este ejercicio tiene por objetivo garantizar un entendimiento del negocio por parte de los empresarios y emprendedores.</a:t>
            </a:r>
            <a:endParaRPr lang="es-CO" sz="1400" dirty="0">
              <a:latin typeface="Arial Narrow" panose="020B0606020202030204" pitchFamily="34" charset="0"/>
            </a:endParaRPr>
          </a:p>
        </p:txBody>
      </p:sp>
      <p:cxnSp>
        <p:nvCxnSpPr>
          <p:cNvPr id="7" name="7 Conector recto">
            <a:extLst>
              <a:ext uri="{FF2B5EF4-FFF2-40B4-BE49-F238E27FC236}">
                <a16:creationId xmlns:a16="http://schemas.microsoft.com/office/drawing/2014/main" id="{A6520EE4-F287-B3B5-3729-80E826A07A3D}"/>
              </a:ext>
            </a:extLst>
          </p:cNvPr>
          <p:cNvCxnSpPr/>
          <p:nvPr/>
        </p:nvCxnSpPr>
        <p:spPr>
          <a:xfrm flipV="1">
            <a:off x="3385805" y="2128289"/>
            <a:ext cx="7348337" cy="66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4 Conector recto">
            <a:extLst>
              <a:ext uri="{FF2B5EF4-FFF2-40B4-BE49-F238E27FC236}">
                <a16:creationId xmlns:a16="http://schemas.microsoft.com/office/drawing/2014/main" id="{BFFE7BAE-ABFA-8F36-065E-64DEB8C026F2}"/>
              </a:ext>
            </a:extLst>
          </p:cNvPr>
          <p:cNvCxnSpPr/>
          <p:nvPr/>
        </p:nvCxnSpPr>
        <p:spPr>
          <a:xfrm>
            <a:off x="1786899" y="1566453"/>
            <a:ext cx="9093278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6 Título">
            <a:extLst>
              <a:ext uri="{FF2B5EF4-FFF2-40B4-BE49-F238E27FC236}">
                <a16:creationId xmlns:a16="http://schemas.microsoft.com/office/drawing/2014/main" id="{B4783D2A-CE10-A231-96FE-05A239A18E3E}"/>
              </a:ext>
            </a:extLst>
          </p:cNvPr>
          <p:cNvSpPr txBox="1">
            <a:spLocks/>
          </p:cNvSpPr>
          <p:nvPr/>
        </p:nvSpPr>
        <p:spPr>
          <a:xfrm>
            <a:off x="1679842" y="570469"/>
            <a:ext cx="8961787" cy="8921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000" kern="1200" cap="all" spc="100" baseline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000" dirty="0">
                <a:latin typeface="Arial Narrow" panose="020B0606020202030204" pitchFamily="34" charset="0"/>
              </a:rPr>
              <a:t>Emprendimientos y empresas deberán estar en capacidad de contar sin presentación como hacen plata, recorriendo de forma lógica y correlacionada el </a:t>
            </a:r>
            <a:r>
              <a:rPr lang="es-ES" sz="2000" dirty="0" err="1">
                <a:latin typeface="Arial Narrow" panose="020B0606020202030204" pitchFamily="34" charset="0"/>
              </a:rPr>
              <a:t>business</a:t>
            </a:r>
            <a:r>
              <a:rPr lang="es-ES" sz="2000" dirty="0">
                <a:latin typeface="Arial Narrow" panose="020B0606020202030204" pitchFamily="34" charset="0"/>
              </a:rPr>
              <a:t> </a:t>
            </a:r>
            <a:r>
              <a:rPr lang="es-ES" sz="2000" dirty="0" err="1">
                <a:latin typeface="Arial Narrow" panose="020B0606020202030204" pitchFamily="34" charset="0"/>
              </a:rPr>
              <a:t>model</a:t>
            </a:r>
            <a:r>
              <a:rPr lang="es-ES" sz="2000" dirty="0">
                <a:latin typeface="Arial Narrow" panose="020B0606020202030204" pitchFamily="34" charset="0"/>
              </a:rPr>
              <a:t> </a:t>
            </a:r>
            <a:r>
              <a:rPr lang="es-ES" sz="2000" dirty="0" err="1">
                <a:latin typeface="Arial Narrow" panose="020B0606020202030204" pitchFamily="34" charset="0"/>
              </a:rPr>
              <a:t>canvas</a:t>
            </a:r>
            <a:r>
              <a:rPr lang="es-ES" sz="2000" dirty="0">
                <a:latin typeface="Arial Narrow" panose="020B0606020202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46196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>
          <a:xfrm>
            <a:off x="1784570" y="764706"/>
            <a:ext cx="9797832" cy="288032"/>
          </a:xfrm>
        </p:spPr>
        <p:txBody>
          <a:bodyPr/>
          <a:lstStyle/>
          <a:p>
            <a:r>
              <a:rPr lang="es-CO" dirty="0"/>
              <a:t>Propuesta de valo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/>
              <a:t>Que aprenderemos – Creando Valor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327C5-B821-4FE9-A59A-A60D9EB59A9A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6034F087-B0FD-C5D4-140F-64EEA3AC2FEC}"/>
              </a:ext>
            </a:extLst>
          </p:cNvPr>
          <p:cNvSpPr/>
          <p:nvPr/>
        </p:nvSpPr>
        <p:spPr>
          <a:xfrm>
            <a:off x="5392994" y="664316"/>
            <a:ext cx="3429442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rear Valor  de negocio</a:t>
            </a: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39FE1EA8-C7DB-7994-0FA2-DEB0CAE6CDC4}"/>
              </a:ext>
            </a:extLst>
          </p:cNvPr>
          <p:cNvGraphicFramePr>
            <a:graphicFrameLocks noGrp="1"/>
          </p:cNvGraphicFramePr>
          <p:nvPr/>
        </p:nvGraphicFramePr>
        <p:xfrm>
          <a:off x="233362" y="1710264"/>
          <a:ext cx="11725276" cy="50006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8308">
                  <a:extLst>
                    <a:ext uri="{9D8B030D-6E8A-4147-A177-3AD203B41FA5}">
                      <a16:colId xmlns:a16="http://schemas.microsoft.com/office/drawing/2014/main" val="1785598033"/>
                    </a:ext>
                  </a:extLst>
                </a:gridCol>
                <a:gridCol w="2443397">
                  <a:extLst>
                    <a:ext uri="{9D8B030D-6E8A-4147-A177-3AD203B41FA5}">
                      <a16:colId xmlns:a16="http://schemas.microsoft.com/office/drawing/2014/main" val="2106355599"/>
                    </a:ext>
                  </a:extLst>
                </a:gridCol>
                <a:gridCol w="2353456">
                  <a:extLst>
                    <a:ext uri="{9D8B030D-6E8A-4147-A177-3AD203B41FA5}">
                      <a16:colId xmlns:a16="http://schemas.microsoft.com/office/drawing/2014/main" val="3839408692"/>
                    </a:ext>
                  </a:extLst>
                </a:gridCol>
                <a:gridCol w="1716300">
                  <a:extLst>
                    <a:ext uri="{9D8B030D-6E8A-4147-A177-3AD203B41FA5}">
                      <a16:colId xmlns:a16="http://schemas.microsoft.com/office/drawing/2014/main" val="2089937821"/>
                    </a:ext>
                  </a:extLst>
                </a:gridCol>
                <a:gridCol w="2633815">
                  <a:extLst>
                    <a:ext uri="{9D8B030D-6E8A-4147-A177-3AD203B41FA5}">
                      <a16:colId xmlns:a16="http://schemas.microsoft.com/office/drawing/2014/main" val="2242308206"/>
                    </a:ext>
                  </a:extLst>
                </a:gridCol>
              </a:tblGrid>
              <a:tr h="855362">
                <a:tc>
                  <a:txBody>
                    <a:bodyPr/>
                    <a:lstStyle/>
                    <a:p>
                      <a:pPr algn="ctr"/>
                      <a:r>
                        <a:rPr lang="es-CO" sz="1200"/>
                        <a:t>Describa el JTBD</a:t>
                      </a:r>
                      <a:endParaRPr lang="en-US" sz="120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dirty="0"/>
                        <a:t>Cuando el usuario esta?</a:t>
                      </a:r>
                    </a:p>
                    <a:p>
                      <a:pPr algn="ctr"/>
                      <a:r>
                        <a:rPr lang="es-CO" sz="1200" dirty="0"/>
                        <a:t>(Describa la circunstancia)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/>
                        <a:t>El usuario quisiera..</a:t>
                      </a:r>
                    </a:p>
                    <a:p>
                      <a:pPr algn="ctr"/>
                      <a:r>
                        <a:rPr lang="es-CO" sz="1200"/>
                        <a:t>(Motivaciones funcionales)</a:t>
                      </a:r>
                      <a:endParaRPr lang="en-US" sz="120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/>
                        <a:t>El usuario quisiera..</a:t>
                      </a:r>
                    </a:p>
                    <a:p>
                      <a:pPr algn="ctr"/>
                      <a:r>
                        <a:rPr lang="es-CO" sz="1200"/>
                        <a:t>(Motivaciones Emocionales)</a:t>
                      </a:r>
                      <a:endParaRPr lang="en-US" sz="120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/>
                        <a:t>De manera tal que…</a:t>
                      </a:r>
                    </a:p>
                    <a:p>
                      <a:pPr algn="ctr"/>
                      <a:r>
                        <a:rPr lang="es-CO" sz="1200"/>
                        <a:t>(Resultado que quisiera lograr)</a:t>
                      </a:r>
                      <a:endParaRPr lang="en-US" sz="120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458200"/>
                  </a:ext>
                </a:extLst>
              </a:tr>
              <a:tr h="17032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WS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CO" sz="1000" dirty="0"/>
                        <a:t>- Acceder de forma rápida y segura a un préstamo de efectivo a una tasa adecuada , </a:t>
                      </a:r>
                      <a:r>
                        <a:rPr lang="es-CO" sz="1000" b="1" dirty="0">
                          <a:solidFill>
                            <a:srgbClr val="00B050"/>
                          </a:solidFill>
                        </a:rPr>
                        <a:t>seleccionando tiempos cortos y transferencias a otras billeteras digitales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CO" sz="1000" dirty="0"/>
                        <a:t>- Generar ganancias con el dinero de mi cuenta de ahorros superiores a las ofrecidas por la Banca tradicional, </a:t>
                      </a:r>
                      <a:r>
                        <a:rPr lang="es-CO" sz="1000" b="1" dirty="0">
                          <a:solidFill>
                            <a:srgbClr val="00B050"/>
                          </a:solidFill>
                        </a:rPr>
                        <a:t>con una transacción respaldada, rápida y segura.</a:t>
                      </a:r>
                      <a:endParaRPr lang="es-ES" sz="10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/>
                        <a:t>Con la necesidad urgente de un crédito de pago rápido a tasas adecuadas, claras, confiables y reguladas por una entidad, que le permita </a:t>
                      </a:r>
                      <a:r>
                        <a:rPr lang="es-ES" sz="1000" b="1">
                          <a:solidFill>
                            <a:srgbClr val="00B050"/>
                          </a:solidFill>
                        </a:rPr>
                        <a:t>crear una vida crediticia sin perjudicar su flujo de caja o arriesgar su tranquilidad</a:t>
                      </a:r>
                      <a:endParaRPr lang="en-US" sz="1000" b="1">
                        <a:solidFill>
                          <a:srgbClr val="00B050"/>
                        </a:solidFill>
                      </a:endParaRPr>
                    </a:p>
                    <a:p>
                      <a:endParaRPr lang="en-US" sz="1000"/>
                    </a:p>
                    <a:p>
                      <a:r>
                        <a:rPr lang="es-ES" sz="1000"/>
                        <a:t>Buscando una oportunidad de inversión de corto plazo que le</a:t>
                      </a:r>
                      <a:r>
                        <a:rPr lang="es-ES" sz="1000" b="1">
                          <a:solidFill>
                            <a:srgbClr val="00B050"/>
                          </a:solidFill>
                        </a:rPr>
                        <a:t> garantice buenos rendimientos y proteja su dinero, con  garantía y el respaldo</a:t>
                      </a:r>
                      <a:endParaRPr lang="en-US" sz="1000" b="1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/>
                        <a:t>Acceder a un préstamo rápido de efectivo de bajo monto, por poco tiempo </a:t>
                      </a:r>
                      <a:r>
                        <a:rPr lang="es-ES" sz="1000" b="1">
                          <a:solidFill>
                            <a:srgbClr val="00B050"/>
                          </a:solidFill>
                        </a:rPr>
                        <a:t>desde su celular o algún canal digital sin tener que ir al Banco</a:t>
                      </a:r>
                      <a:endParaRPr lang="en-US" sz="1000" b="1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ES" sz="1000"/>
                    </a:p>
                    <a:p>
                      <a:pPr marL="0" marR="0" lvl="0" indent="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/>
                        <a:t>Tener la oportunidad de ofrecer dinero de forma segura, a cambio de un % con la garantía de que le van a pagar, </a:t>
                      </a:r>
                      <a:r>
                        <a:rPr lang="es-ES" sz="1000" b="1">
                          <a:solidFill>
                            <a:srgbClr val="00B050"/>
                          </a:solidFill>
                        </a:rPr>
                        <a:t>desde un canal digital que le garantice inmediatez y soporte</a:t>
                      </a:r>
                    </a:p>
                    <a:p>
                      <a:pPr marL="0" marR="0" lvl="0" indent="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ES" sz="1000"/>
                    </a:p>
                    <a:p>
                      <a:endParaRPr lang="en-US" sz="100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/>
                        <a:t>Recibir una ganancia, poner a trabajar el dinero, estar seguro de que le van a regresar el dinero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/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/>
                        <a:t>Solucionar una urgencia, encontrar fuentes de financiación diferentes a la Banca tradicional, pagar tasas justas</a:t>
                      </a:r>
                      <a:r>
                        <a:rPr lang="es-ES" sz="1000" b="1">
                          <a:solidFill>
                            <a:srgbClr val="00B050"/>
                          </a:solidFill>
                        </a:rPr>
                        <a:t>. No tener que recurrir a prestamistas independientes o gota a gota</a:t>
                      </a:r>
                      <a:endParaRPr lang="en-US" sz="1000" b="1">
                        <a:solidFill>
                          <a:srgbClr val="00B050"/>
                        </a:solidFill>
                      </a:endParaRPr>
                    </a:p>
                    <a:p>
                      <a:endParaRPr lang="en-US" sz="100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/>
                        <a:t>Generar una experiencia digital que permita conectar a prestamistas con solicitantes de bajos montos a corto plazo, que sea seguro, rápido y confiable, generando así, </a:t>
                      </a:r>
                      <a:r>
                        <a:rPr lang="es-ES" sz="1000" b="1">
                          <a:solidFill>
                            <a:srgbClr val="00B050"/>
                          </a:solidFill>
                        </a:rPr>
                        <a:t>una nueva línea de </a:t>
                      </a:r>
                      <a:r>
                        <a:rPr lang="es-ES" sz="1000" b="1" err="1">
                          <a:solidFill>
                            <a:srgbClr val="00B050"/>
                          </a:solidFill>
                        </a:rPr>
                        <a:t>Revenue</a:t>
                      </a:r>
                      <a:r>
                        <a:rPr lang="es-ES" sz="1000" b="1">
                          <a:solidFill>
                            <a:srgbClr val="00B050"/>
                          </a:solidFill>
                        </a:rPr>
                        <a:t> para Todo Tarjetas S.A, que provenga de la intermediación de las transacciones.</a:t>
                      </a:r>
                      <a:endParaRPr lang="en-US" sz="1000" b="1">
                        <a:solidFill>
                          <a:srgbClr val="00B050"/>
                        </a:solidFill>
                      </a:endParaRPr>
                    </a:p>
                    <a:p>
                      <a:endParaRPr lang="en-US" sz="100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905920"/>
                  </a:ext>
                </a:extLst>
              </a:tr>
              <a:tr h="1703275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endParaRPr lang="es-CO" sz="10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WS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CO" sz="1000"/>
                        <a:t>-  Cambiar a Pesos Colombianos los </a:t>
                      </a:r>
                      <a:r>
                        <a:rPr lang="es-CO" sz="1000" err="1"/>
                        <a:t>criptoactivos</a:t>
                      </a:r>
                      <a:r>
                        <a:rPr lang="es-CO" sz="1000"/>
                        <a:t> recibidos mediante una tasa justa en una entidad que garantice la transacción.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CO" sz="1000"/>
                        <a:t>- Invertir en criptomonedas (</a:t>
                      </a:r>
                      <a:r>
                        <a:rPr lang="es-CO" sz="1000" err="1"/>
                        <a:t>stablecoins</a:t>
                      </a:r>
                      <a:r>
                        <a:rPr lang="es-CO" sz="1000"/>
                        <a:t>) desde la misma aplicación del Banco, monitorear sus inversiones y monetizar directamente   su cuenta de ahorros/corriente, o a un tercero a través de billeteras o pasarelas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es-CO" sz="1000"/>
                        <a:t>.</a:t>
                      </a:r>
                      <a:endParaRPr lang="es-CO" sz="1000" b="1">
                        <a:solidFill>
                          <a:srgbClr val="00B05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/>
                    </a:p>
                    <a:p>
                      <a:pPr lvl="0">
                        <a:buNone/>
                      </a:pPr>
                      <a:endParaRPr lang="en-US" sz="1000"/>
                    </a:p>
                    <a:p>
                      <a:pPr lvl="0">
                        <a:buNone/>
                      </a:pPr>
                      <a:r>
                        <a:rPr lang="es-CO" sz="1000" noProof="0"/>
                        <a:t>- Buscando convertir a pesos sus activos  digitales ,</a:t>
                      </a:r>
                    </a:p>
                    <a:p>
                      <a:pPr lvl="0">
                        <a:buNone/>
                      </a:pPr>
                      <a:r>
                        <a:rPr lang="es-CO" sz="1000" noProof="0"/>
                        <a:t>- Buscando aumentar y diversificar su </a:t>
                      </a:r>
                      <a:r>
                        <a:rPr lang="es-CO" sz="1000" noProof="0" err="1"/>
                        <a:t>inversion</a:t>
                      </a:r>
                      <a:r>
                        <a:rPr lang="es-CO" sz="1000" noProof="0"/>
                        <a:t> en  </a:t>
                      </a:r>
                      <a:r>
                        <a:rPr lang="es-CO" sz="1000" noProof="0" err="1"/>
                        <a:t>crypto</a:t>
                      </a:r>
                      <a:r>
                        <a:rPr lang="es-CO" sz="1000" noProof="0"/>
                        <a:t> activos</a:t>
                      </a:r>
                    </a:p>
                    <a:p>
                      <a:pPr lvl="0">
                        <a:buNone/>
                      </a:pPr>
                      <a:endParaRPr lang="en-US" sz="100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/>
                    </a:p>
                    <a:p>
                      <a:pPr lvl="0">
                        <a:buNone/>
                      </a:pPr>
                      <a:endParaRPr lang="en-US" sz="1000"/>
                    </a:p>
                    <a:p>
                      <a:pPr lvl="0">
                        <a:buNone/>
                      </a:pPr>
                      <a:r>
                        <a:rPr lang="es-CO" sz="1000" noProof="0"/>
                        <a:t>Comprar criptomonedas (</a:t>
                      </a:r>
                      <a:r>
                        <a:rPr lang="es-CO" sz="1000" noProof="0" err="1"/>
                        <a:t>stablecoins</a:t>
                      </a:r>
                      <a:r>
                        <a:rPr lang="es-CO" sz="1000" noProof="0"/>
                        <a:t>) de manera rápida y Segura</a:t>
                      </a:r>
                    </a:p>
                    <a:p>
                      <a:pPr lvl="0">
                        <a:buNone/>
                      </a:pPr>
                      <a:endParaRPr lang="es-CO" sz="1000" noProof="0"/>
                    </a:p>
                    <a:p>
                      <a:pPr lvl="0">
                        <a:buNone/>
                      </a:pPr>
                      <a:r>
                        <a:rPr lang="es-CO" sz="1000" noProof="0"/>
                        <a:t>Vender sus criptomonedas y recibir sus ganancias a su cuenta de ahorros/corriente o cualquier otro destino.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/>
                    </a:p>
                    <a:p>
                      <a:pPr lvl="0">
                        <a:buNone/>
                      </a:pPr>
                      <a:endParaRPr lang="en-US" sz="1000"/>
                    </a:p>
                    <a:p>
                      <a:pPr lvl="0">
                        <a:buNone/>
                      </a:pPr>
                      <a:r>
                        <a:rPr lang="es-CO" sz="1000" noProof="0"/>
                        <a:t>Obtener ganancias de sus inversiones en criptomonedas (</a:t>
                      </a:r>
                      <a:r>
                        <a:rPr lang="es-CO" sz="1000" noProof="0" err="1"/>
                        <a:t>stablecoins</a:t>
                      </a:r>
                      <a:r>
                        <a:rPr lang="es-CO" sz="1000" noProof="0"/>
                        <a:t>) con un bajo margen de transacción.</a:t>
                      </a:r>
                    </a:p>
                    <a:p>
                      <a:pPr lvl="0">
                        <a:buNone/>
                      </a:pPr>
                      <a:endParaRPr lang="es-CO" sz="1000" noProof="0"/>
                    </a:p>
                    <a:p>
                      <a:pPr lvl="0">
                        <a:buNone/>
                      </a:pPr>
                      <a:r>
                        <a:rPr lang="es-CO" sz="1000" noProof="0"/>
                        <a:t>Monitorear su inversión y recibir sugerencias de la plataforma.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000" dirty="0"/>
                    </a:p>
                    <a:p>
                      <a:pPr lvl="0">
                        <a:buNone/>
                      </a:pPr>
                      <a:endParaRPr lang="en-US" sz="1000" dirty="0"/>
                    </a:p>
                    <a:p>
                      <a:pPr lvl="0">
                        <a:buNone/>
                      </a:pPr>
                      <a:r>
                        <a:rPr lang="es-CO" sz="1000" noProof="0" dirty="0"/>
                        <a:t>Ofrecer una herramienta que le permita al usuario comprar y vender criptomonedas (</a:t>
                      </a:r>
                      <a:r>
                        <a:rPr lang="es-CO" sz="1000" noProof="0" dirty="0" err="1"/>
                        <a:t>stablecoins</a:t>
                      </a:r>
                      <a:r>
                        <a:rPr lang="es-CO" sz="1000" noProof="0" dirty="0"/>
                        <a:t>) de manera rápida y segura desde la misma plataforma de su banco. </a:t>
                      </a:r>
                    </a:p>
                    <a:p>
                      <a:pPr lvl="0">
                        <a:buNone/>
                      </a:pPr>
                      <a:endParaRPr lang="es-CO" sz="1000" noProof="0" dirty="0"/>
                    </a:p>
                    <a:p>
                      <a:pPr lvl="0">
                        <a:buNone/>
                      </a:pPr>
                      <a:r>
                        <a:rPr lang="es-CO" sz="1000" b="1" noProof="0" dirty="0">
                          <a:solidFill>
                            <a:srgbClr val="00B050"/>
                          </a:solidFill>
                        </a:rPr>
                        <a:t>Crear una nueva oportunidad de negocio para Todo Tarjetas S.A., que le permite conectar con necesidades de sus usuarios jóvenes y percibir ingresos por las transacciones de venta</a:t>
                      </a:r>
                      <a:r>
                        <a:rPr lang="es-CO" sz="1000" noProof="0" dirty="0"/>
                        <a:t>.</a:t>
                      </a:r>
                    </a:p>
                    <a:p>
                      <a:pPr lvl="0">
                        <a:buNone/>
                      </a:pPr>
                      <a:endParaRPr lang="en-US" sz="10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8771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9956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0" y="0"/>
            <a:ext cx="12192000" cy="9256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>
            <a:outerShdw dist="25400" dir="5400000" algn="ctr" rotWithShape="0">
              <a:schemeClr val="accent2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400" b="1" dirty="0" err="1">
                <a:solidFill>
                  <a:schemeClr val="tx1"/>
                </a:solidFill>
              </a:rPr>
              <a:t>Metodológia</a:t>
            </a:r>
            <a:r>
              <a:rPr lang="es-ES" sz="2400" b="1" dirty="0">
                <a:solidFill>
                  <a:schemeClr val="tx1"/>
                </a:solidFill>
              </a:rPr>
              <a:t> para construir un </a:t>
            </a:r>
            <a:r>
              <a:rPr lang="es-ES" sz="2400" b="1" dirty="0" err="1">
                <a:solidFill>
                  <a:schemeClr val="tx1"/>
                </a:solidFill>
              </a:rPr>
              <a:t>Customer</a:t>
            </a:r>
            <a:r>
              <a:rPr lang="es-ES" sz="2400" b="1" dirty="0">
                <a:solidFill>
                  <a:schemeClr val="tx1"/>
                </a:solidFill>
              </a:rPr>
              <a:t> </a:t>
            </a:r>
            <a:r>
              <a:rPr lang="es-ES" sz="2400" b="1" dirty="0" err="1">
                <a:solidFill>
                  <a:schemeClr val="tx1"/>
                </a:solidFill>
              </a:rPr>
              <a:t>Journey</a:t>
            </a:r>
            <a:endParaRPr lang="es-ES" sz="2400" b="1" dirty="0">
              <a:solidFill>
                <a:schemeClr val="tx1"/>
              </a:solidFill>
            </a:endParaRPr>
          </a:p>
          <a:p>
            <a:r>
              <a:rPr lang="es-ES" sz="2400" dirty="0">
                <a:solidFill>
                  <a:schemeClr val="tx1"/>
                </a:solidFill>
              </a:rPr>
              <a:t>Componentes básicos del </a:t>
            </a:r>
            <a:r>
              <a:rPr lang="es-ES" sz="2400" dirty="0" err="1">
                <a:solidFill>
                  <a:schemeClr val="tx1"/>
                </a:solidFill>
              </a:rPr>
              <a:t>customer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journey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map</a:t>
            </a:r>
            <a:endParaRPr lang="es-CO" sz="2400" dirty="0">
              <a:solidFill>
                <a:schemeClr val="tx1"/>
              </a:solidFill>
            </a:endParaRPr>
          </a:p>
        </p:txBody>
      </p:sp>
      <p:sp>
        <p:nvSpPr>
          <p:cNvPr id="4" name="Pentágono 5">
            <a:extLst>
              <a:ext uri="{FF2B5EF4-FFF2-40B4-BE49-F238E27FC236}">
                <a16:creationId xmlns:a16="http://schemas.microsoft.com/office/drawing/2014/main" id="{14A1D452-9468-4033-BCEC-0BB6DD471023}"/>
              </a:ext>
            </a:extLst>
          </p:cNvPr>
          <p:cNvSpPr/>
          <p:nvPr/>
        </p:nvSpPr>
        <p:spPr>
          <a:xfrm>
            <a:off x="3192534" y="2273118"/>
            <a:ext cx="2201038" cy="364953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/>
              <a:t>Exploración</a:t>
            </a:r>
            <a:endParaRPr lang="es-CO" b="1" dirty="0"/>
          </a:p>
        </p:txBody>
      </p:sp>
      <p:sp>
        <p:nvSpPr>
          <p:cNvPr id="5" name="Pentágono 5">
            <a:extLst>
              <a:ext uri="{FF2B5EF4-FFF2-40B4-BE49-F238E27FC236}">
                <a16:creationId xmlns:a16="http://schemas.microsoft.com/office/drawing/2014/main" id="{6427F977-13D4-422A-A6A9-359B5C386E31}"/>
              </a:ext>
            </a:extLst>
          </p:cNvPr>
          <p:cNvSpPr/>
          <p:nvPr/>
        </p:nvSpPr>
        <p:spPr>
          <a:xfrm>
            <a:off x="5501112" y="2273117"/>
            <a:ext cx="2201038" cy="364953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err="1"/>
              <a:t>Desición</a:t>
            </a:r>
            <a:endParaRPr lang="es-CO" b="1" dirty="0"/>
          </a:p>
        </p:txBody>
      </p:sp>
      <p:sp>
        <p:nvSpPr>
          <p:cNvPr id="6" name="Pentágono 5">
            <a:extLst>
              <a:ext uri="{FF2B5EF4-FFF2-40B4-BE49-F238E27FC236}">
                <a16:creationId xmlns:a16="http://schemas.microsoft.com/office/drawing/2014/main" id="{A3C6A370-1800-40F4-B010-3CE5D09A677D}"/>
              </a:ext>
            </a:extLst>
          </p:cNvPr>
          <p:cNvSpPr/>
          <p:nvPr/>
        </p:nvSpPr>
        <p:spPr>
          <a:xfrm>
            <a:off x="7809690" y="2273116"/>
            <a:ext cx="2201038" cy="364953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/>
              <a:t>Compra</a:t>
            </a:r>
            <a:endParaRPr lang="es-CO" b="1" dirty="0"/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37537CBD-62D8-48A7-8F09-A2D5A7F6DA88}"/>
              </a:ext>
            </a:extLst>
          </p:cNvPr>
          <p:cNvGrpSpPr/>
          <p:nvPr/>
        </p:nvGrpSpPr>
        <p:grpSpPr>
          <a:xfrm>
            <a:off x="2961027" y="2743141"/>
            <a:ext cx="7150543" cy="180000"/>
            <a:chOff x="1795986" y="3649822"/>
            <a:chExt cx="7150543" cy="180000"/>
          </a:xfrm>
        </p:grpSpPr>
        <p:cxnSp>
          <p:nvCxnSpPr>
            <p:cNvPr id="8" name="Conector recto 7">
              <a:extLst>
                <a:ext uri="{FF2B5EF4-FFF2-40B4-BE49-F238E27FC236}">
                  <a16:creationId xmlns:a16="http://schemas.microsoft.com/office/drawing/2014/main" id="{A1A718EF-077A-4468-8E5B-39DBEC2E7BDA}"/>
                </a:ext>
              </a:extLst>
            </p:cNvPr>
            <p:cNvCxnSpPr>
              <a:cxnSpLocks/>
            </p:cNvCxnSpPr>
            <p:nvPr/>
          </p:nvCxnSpPr>
          <p:spPr>
            <a:xfrm>
              <a:off x="2027493" y="3739822"/>
              <a:ext cx="6687529" cy="0"/>
            </a:xfrm>
            <a:prstGeom prst="line">
              <a:avLst/>
            </a:prstGeom>
            <a:ln w="19050"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DB43D993-3F19-4DB6-865C-B7F73CB64C88}"/>
                </a:ext>
              </a:extLst>
            </p:cNvPr>
            <p:cNvSpPr/>
            <p:nvPr/>
          </p:nvSpPr>
          <p:spPr>
            <a:xfrm>
              <a:off x="1795986" y="3649822"/>
              <a:ext cx="180000" cy="18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38F9AA4A-1E35-44F0-944D-A2ADA475E2DC}"/>
                </a:ext>
              </a:extLst>
            </p:cNvPr>
            <p:cNvSpPr/>
            <p:nvPr/>
          </p:nvSpPr>
          <p:spPr>
            <a:xfrm>
              <a:off x="8766529" y="3649822"/>
              <a:ext cx="180000" cy="180000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20" name="Rectangle 13">
            <a:extLst>
              <a:ext uri="{FF2B5EF4-FFF2-40B4-BE49-F238E27FC236}">
                <a16:creationId xmlns:a16="http://schemas.microsoft.com/office/drawing/2014/main" id="{9F38317B-51C1-4F06-ADA6-0FFB40845427}"/>
              </a:ext>
            </a:extLst>
          </p:cNvPr>
          <p:cNvSpPr/>
          <p:nvPr/>
        </p:nvSpPr>
        <p:spPr>
          <a:xfrm>
            <a:off x="3265570" y="3012069"/>
            <a:ext cx="820320" cy="4284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Nombre paso 1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BB656266-8A30-4B9D-B540-FA575D2D8C47}"/>
              </a:ext>
            </a:extLst>
          </p:cNvPr>
          <p:cNvSpPr/>
          <p:nvPr/>
        </p:nvSpPr>
        <p:spPr>
          <a:xfrm>
            <a:off x="3582566" y="2743141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1</a:t>
            </a:r>
            <a:endParaRPr lang="es-CO" b="1" dirty="0">
              <a:solidFill>
                <a:schemeClr val="bg1"/>
              </a:solidFill>
            </a:endParaRPr>
          </a:p>
        </p:txBody>
      </p:sp>
      <p:grpSp>
        <p:nvGrpSpPr>
          <p:cNvPr id="22" name="Group 55">
            <a:extLst>
              <a:ext uri="{FF2B5EF4-FFF2-40B4-BE49-F238E27FC236}">
                <a16:creationId xmlns:a16="http://schemas.microsoft.com/office/drawing/2014/main" id="{940A7C41-AD19-4434-9914-CF4B4E134F5C}"/>
              </a:ext>
            </a:extLst>
          </p:cNvPr>
          <p:cNvGrpSpPr/>
          <p:nvPr/>
        </p:nvGrpSpPr>
        <p:grpSpPr>
          <a:xfrm>
            <a:off x="3177698" y="3524648"/>
            <a:ext cx="996063" cy="640863"/>
            <a:chOff x="1068945" y="1921962"/>
            <a:chExt cx="1046039" cy="694268"/>
          </a:xfrm>
        </p:grpSpPr>
        <p:pic>
          <p:nvPicPr>
            <p:cNvPr id="23" name="Picture 5" descr="C:\Users\Hidalgo Juan\Desktop\BCI\CHIP customer journey module\Workshop - Voice of the customer\Output\Maria Dream Journey\maria 3v3 sketch.png">
              <a:extLst>
                <a:ext uri="{FF2B5EF4-FFF2-40B4-BE49-F238E27FC236}">
                  <a16:creationId xmlns:a16="http://schemas.microsoft.com/office/drawing/2014/main" id="{1231F886-CF77-4787-B724-90166BBA5A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24" name="Rectangle 20">
              <a:extLst>
                <a:ext uri="{FF2B5EF4-FFF2-40B4-BE49-F238E27FC236}">
                  <a16:creationId xmlns:a16="http://schemas.microsoft.com/office/drawing/2014/main" id="{EA46156A-74FA-422F-8F61-081B81D54FD5}"/>
                </a:ext>
              </a:extLst>
            </p:cNvPr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Rectangle 13">
            <a:extLst>
              <a:ext uri="{FF2B5EF4-FFF2-40B4-BE49-F238E27FC236}">
                <a16:creationId xmlns:a16="http://schemas.microsoft.com/office/drawing/2014/main" id="{A1007A99-AAEC-4782-A8EA-2C7B296AD4D9}"/>
              </a:ext>
            </a:extLst>
          </p:cNvPr>
          <p:cNvSpPr/>
          <p:nvPr/>
        </p:nvSpPr>
        <p:spPr>
          <a:xfrm>
            <a:off x="4420596" y="3012069"/>
            <a:ext cx="820320" cy="4284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Nombre paso 2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2881047E-C8CB-478F-BC1B-DCD5963C9790}"/>
              </a:ext>
            </a:extLst>
          </p:cNvPr>
          <p:cNvSpPr/>
          <p:nvPr/>
        </p:nvSpPr>
        <p:spPr>
          <a:xfrm>
            <a:off x="4737592" y="2743141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2</a:t>
            </a:r>
            <a:endParaRPr lang="es-CO" b="1" dirty="0">
              <a:solidFill>
                <a:schemeClr val="bg1"/>
              </a:solidFill>
            </a:endParaRPr>
          </a:p>
        </p:txBody>
      </p:sp>
      <p:grpSp>
        <p:nvGrpSpPr>
          <p:cNvPr id="27" name="Group 55">
            <a:extLst>
              <a:ext uri="{FF2B5EF4-FFF2-40B4-BE49-F238E27FC236}">
                <a16:creationId xmlns:a16="http://schemas.microsoft.com/office/drawing/2014/main" id="{6B6EC91E-4836-4F48-89C8-F69D0F66A439}"/>
              </a:ext>
            </a:extLst>
          </p:cNvPr>
          <p:cNvGrpSpPr/>
          <p:nvPr/>
        </p:nvGrpSpPr>
        <p:grpSpPr>
          <a:xfrm>
            <a:off x="4332724" y="3524648"/>
            <a:ext cx="996063" cy="640863"/>
            <a:chOff x="1068945" y="1921962"/>
            <a:chExt cx="1046039" cy="694268"/>
          </a:xfrm>
        </p:grpSpPr>
        <p:pic>
          <p:nvPicPr>
            <p:cNvPr id="28" name="Picture 5" descr="C:\Users\Hidalgo Juan\Desktop\BCI\CHIP customer journey module\Workshop - Voice of the customer\Output\Maria Dream Journey\maria 3v3 sketch.png">
              <a:extLst>
                <a:ext uri="{FF2B5EF4-FFF2-40B4-BE49-F238E27FC236}">
                  <a16:creationId xmlns:a16="http://schemas.microsoft.com/office/drawing/2014/main" id="{70953171-3044-4CD5-BDF2-D8CD756562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29" name="Rectangle 20">
              <a:extLst>
                <a:ext uri="{FF2B5EF4-FFF2-40B4-BE49-F238E27FC236}">
                  <a16:creationId xmlns:a16="http://schemas.microsoft.com/office/drawing/2014/main" id="{FD496206-7804-4DF6-9415-CD835A418303}"/>
                </a:ext>
              </a:extLst>
            </p:cNvPr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sp>
        <p:nvSpPr>
          <p:cNvPr id="30" name="Rectangle 13">
            <a:extLst>
              <a:ext uri="{FF2B5EF4-FFF2-40B4-BE49-F238E27FC236}">
                <a16:creationId xmlns:a16="http://schemas.microsoft.com/office/drawing/2014/main" id="{37CE31EA-3242-4BEB-9735-B0315A75C42D}"/>
              </a:ext>
            </a:extLst>
          </p:cNvPr>
          <p:cNvSpPr/>
          <p:nvPr/>
        </p:nvSpPr>
        <p:spPr>
          <a:xfrm>
            <a:off x="5587206" y="3012069"/>
            <a:ext cx="820320" cy="4284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Nombre paso 3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A883323F-E59D-4D95-87BC-3E0F847362D5}"/>
              </a:ext>
            </a:extLst>
          </p:cNvPr>
          <p:cNvSpPr/>
          <p:nvPr/>
        </p:nvSpPr>
        <p:spPr>
          <a:xfrm>
            <a:off x="5904202" y="2743141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3</a:t>
            </a:r>
            <a:endParaRPr lang="es-CO" b="1" dirty="0">
              <a:solidFill>
                <a:schemeClr val="bg1"/>
              </a:solidFill>
            </a:endParaRPr>
          </a:p>
        </p:txBody>
      </p:sp>
      <p:grpSp>
        <p:nvGrpSpPr>
          <p:cNvPr id="32" name="Group 55">
            <a:extLst>
              <a:ext uri="{FF2B5EF4-FFF2-40B4-BE49-F238E27FC236}">
                <a16:creationId xmlns:a16="http://schemas.microsoft.com/office/drawing/2014/main" id="{862AB198-9D21-4B4D-BB37-2D90F5A534F4}"/>
              </a:ext>
            </a:extLst>
          </p:cNvPr>
          <p:cNvGrpSpPr/>
          <p:nvPr/>
        </p:nvGrpSpPr>
        <p:grpSpPr>
          <a:xfrm>
            <a:off x="5499334" y="3524648"/>
            <a:ext cx="996063" cy="640863"/>
            <a:chOff x="1068945" y="1921962"/>
            <a:chExt cx="1046039" cy="694268"/>
          </a:xfrm>
        </p:grpSpPr>
        <p:pic>
          <p:nvPicPr>
            <p:cNvPr id="33" name="Picture 5" descr="C:\Users\Hidalgo Juan\Desktop\BCI\CHIP customer journey module\Workshop - Voice of the customer\Output\Maria Dream Journey\maria 3v3 sketch.png">
              <a:extLst>
                <a:ext uri="{FF2B5EF4-FFF2-40B4-BE49-F238E27FC236}">
                  <a16:creationId xmlns:a16="http://schemas.microsoft.com/office/drawing/2014/main" id="{050928DF-3723-444B-8661-B716949A40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34" name="Rectangle 20">
              <a:extLst>
                <a:ext uri="{FF2B5EF4-FFF2-40B4-BE49-F238E27FC236}">
                  <a16:creationId xmlns:a16="http://schemas.microsoft.com/office/drawing/2014/main" id="{0DCFB3A0-BB4E-4479-9C44-BF23D5919871}"/>
                </a:ext>
              </a:extLst>
            </p:cNvPr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sp>
        <p:nvSpPr>
          <p:cNvPr id="35" name="Rectangle 13">
            <a:extLst>
              <a:ext uri="{FF2B5EF4-FFF2-40B4-BE49-F238E27FC236}">
                <a16:creationId xmlns:a16="http://schemas.microsoft.com/office/drawing/2014/main" id="{ABFF3DC2-676D-41E0-8120-F52D4F5D2BDD}"/>
              </a:ext>
            </a:extLst>
          </p:cNvPr>
          <p:cNvSpPr/>
          <p:nvPr/>
        </p:nvSpPr>
        <p:spPr>
          <a:xfrm>
            <a:off x="6742232" y="3012069"/>
            <a:ext cx="820320" cy="4284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Nombre paso 4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44D49792-8E27-4E9B-973E-D48771DB173B}"/>
              </a:ext>
            </a:extLst>
          </p:cNvPr>
          <p:cNvSpPr/>
          <p:nvPr/>
        </p:nvSpPr>
        <p:spPr>
          <a:xfrm>
            <a:off x="7059228" y="2743141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4</a:t>
            </a:r>
            <a:endParaRPr lang="es-CO" b="1" dirty="0">
              <a:solidFill>
                <a:schemeClr val="bg1"/>
              </a:solidFill>
            </a:endParaRPr>
          </a:p>
        </p:txBody>
      </p:sp>
      <p:grpSp>
        <p:nvGrpSpPr>
          <p:cNvPr id="37" name="Group 55">
            <a:extLst>
              <a:ext uri="{FF2B5EF4-FFF2-40B4-BE49-F238E27FC236}">
                <a16:creationId xmlns:a16="http://schemas.microsoft.com/office/drawing/2014/main" id="{779B7A1F-7754-40B1-AE25-ADFFE22B9040}"/>
              </a:ext>
            </a:extLst>
          </p:cNvPr>
          <p:cNvGrpSpPr/>
          <p:nvPr/>
        </p:nvGrpSpPr>
        <p:grpSpPr>
          <a:xfrm>
            <a:off x="6654360" y="3524648"/>
            <a:ext cx="996063" cy="640863"/>
            <a:chOff x="1068945" y="1921962"/>
            <a:chExt cx="1046039" cy="694268"/>
          </a:xfrm>
        </p:grpSpPr>
        <p:pic>
          <p:nvPicPr>
            <p:cNvPr id="38" name="Picture 5" descr="C:\Users\Hidalgo Juan\Desktop\BCI\CHIP customer journey module\Workshop - Voice of the customer\Output\Maria Dream Journey\maria 3v3 sketch.png">
              <a:extLst>
                <a:ext uri="{FF2B5EF4-FFF2-40B4-BE49-F238E27FC236}">
                  <a16:creationId xmlns:a16="http://schemas.microsoft.com/office/drawing/2014/main" id="{AFF29DF6-21A1-44F5-BABE-0445BAFE50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39" name="Rectangle 20">
              <a:extLst>
                <a:ext uri="{FF2B5EF4-FFF2-40B4-BE49-F238E27FC236}">
                  <a16:creationId xmlns:a16="http://schemas.microsoft.com/office/drawing/2014/main" id="{FEB39DF1-DD30-4657-9B89-422FF8AB501B}"/>
                </a:ext>
              </a:extLst>
            </p:cNvPr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ectangle 13">
            <a:extLst>
              <a:ext uri="{FF2B5EF4-FFF2-40B4-BE49-F238E27FC236}">
                <a16:creationId xmlns:a16="http://schemas.microsoft.com/office/drawing/2014/main" id="{4A8306F2-FAD7-48EF-AD91-3962D35E9B0A}"/>
              </a:ext>
            </a:extLst>
          </p:cNvPr>
          <p:cNvSpPr/>
          <p:nvPr/>
        </p:nvSpPr>
        <p:spPr>
          <a:xfrm>
            <a:off x="7975809" y="3012069"/>
            <a:ext cx="820320" cy="4284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Nombre paso 5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9084F021-2A2A-4BA6-B212-C757AD9D1565}"/>
              </a:ext>
            </a:extLst>
          </p:cNvPr>
          <p:cNvSpPr/>
          <p:nvPr/>
        </p:nvSpPr>
        <p:spPr>
          <a:xfrm>
            <a:off x="8292805" y="2743141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5</a:t>
            </a:r>
            <a:endParaRPr lang="es-CO" b="1" dirty="0">
              <a:solidFill>
                <a:schemeClr val="bg1"/>
              </a:solidFill>
            </a:endParaRPr>
          </a:p>
        </p:txBody>
      </p:sp>
      <p:grpSp>
        <p:nvGrpSpPr>
          <p:cNvPr id="42" name="Group 55">
            <a:extLst>
              <a:ext uri="{FF2B5EF4-FFF2-40B4-BE49-F238E27FC236}">
                <a16:creationId xmlns:a16="http://schemas.microsoft.com/office/drawing/2014/main" id="{A3BD2E2E-B477-4C10-8CED-2FD871B18D3F}"/>
              </a:ext>
            </a:extLst>
          </p:cNvPr>
          <p:cNvGrpSpPr/>
          <p:nvPr/>
        </p:nvGrpSpPr>
        <p:grpSpPr>
          <a:xfrm>
            <a:off x="7887937" y="3524648"/>
            <a:ext cx="996063" cy="640863"/>
            <a:chOff x="1068945" y="1921962"/>
            <a:chExt cx="1046039" cy="694268"/>
          </a:xfrm>
        </p:grpSpPr>
        <p:pic>
          <p:nvPicPr>
            <p:cNvPr id="43" name="Picture 5" descr="C:\Users\Hidalgo Juan\Desktop\BCI\CHIP customer journey module\Workshop - Voice of the customer\Output\Maria Dream Journey\maria 3v3 sketch.png">
              <a:extLst>
                <a:ext uri="{FF2B5EF4-FFF2-40B4-BE49-F238E27FC236}">
                  <a16:creationId xmlns:a16="http://schemas.microsoft.com/office/drawing/2014/main" id="{187F5064-D9F2-4B6A-BF93-35DCEC7C2C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id="{8F3853AE-96D6-4051-A655-701883B073E6}"/>
                </a:ext>
              </a:extLst>
            </p:cNvPr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sp>
        <p:nvSpPr>
          <p:cNvPr id="45" name="Rectangle 13">
            <a:extLst>
              <a:ext uri="{FF2B5EF4-FFF2-40B4-BE49-F238E27FC236}">
                <a16:creationId xmlns:a16="http://schemas.microsoft.com/office/drawing/2014/main" id="{57FF11DB-8ED9-414B-A8FC-C75D0EC257D4}"/>
              </a:ext>
            </a:extLst>
          </p:cNvPr>
          <p:cNvSpPr/>
          <p:nvPr/>
        </p:nvSpPr>
        <p:spPr>
          <a:xfrm>
            <a:off x="9130835" y="3012069"/>
            <a:ext cx="820320" cy="4284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Nombre paso 6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4D27C0AB-DD76-4479-9189-793C936EF646}"/>
              </a:ext>
            </a:extLst>
          </p:cNvPr>
          <p:cNvSpPr/>
          <p:nvPr/>
        </p:nvSpPr>
        <p:spPr>
          <a:xfrm>
            <a:off x="9447831" y="2743141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6</a:t>
            </a:r>
            <a:endParaRPr lang="es-CO" b="1" dirty="0">
              <a:solidFill>
                <a:schemeClr val="bg1"/>
              </a:solidFill>
            </a:endParaRPr>
          </a:p>
        </p:txBody>
      </p:sp>
      <p:grpSp>
        <p:nvGrpSpPr>
          <p:cNvPr id="47" name="Group 55">
            <a:extLst>
              <a:ext uri="{FF2B5EF4-FFF2-40B4-BE49-F238E27FC236}">
                <a16:creationId xmlns:a16="http://schemas.microsoft.com/office/drawing/2014/main" id="{16ADA36C-5058-428A-9851-3BEE862B1E80}"/>
              </a:ext>
            </a:extLst>
          </p:cNvPr>
          <p:cNvGrpSpPr/>
          <p:nvPr/>
        </p:nvGrpSpPr>
        <p:grpSpPr>
          <a:xfrm>
            <a:off x="9042963" y="3524648"/>
            <a:ext cx="996063" cy="640863"/>
            <a:chOff x="1068945" y="1921962"/>
            <a:chExt cx="1046039" cy="694268"/>
          </a:xfrm>
        </p:grpSpPr>
        <p:pic>
          <p:nvPicPr>
            <p:cNvPr id="48" name="Picture 5" descr="C:\Users\Hidalgo Juan\Desktop\BCI\CHIP customer journey module\Workshop - Voice of the customer\Output\Maria Dream Journey\maria 3v3 sketch.png">
              <a:extLst>
                <a:ext uri="{FF2B5EF4-FFF2-40B4-BE49-F238E27FC236}">
                  <a16:creationId xmlns:a16="http://schemas.microsoft.com/office/drawing/2014/main" id="{2440A5BA-4C8A-46A1-AAAC-AB049169B0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49" name="Rectangle 20">
              <a:extLst>
                <a:ext uri="{FF2B5EF4-FFF2-40B4-BE49-F238E27FC236}">
                  <a16:creationId xmlns:a16="http://schemas.microsoft.com/office/drawing/2014/main" id="{BA8C78A5-8A30-4A26-8FE3-C77D74135F57}"/>
                </a:ext>
              </a:extLst>
            </p:cNvPr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sp>
        <p:nvSpPr>
          <p:cNvPr id="50" name="Elipse 49">
            <a:extLst>
              <a:ext uri="{FF2B5EF4-FFF2-40B4-BE49-F238E27FC236}">
                <a16:creationId xmlns:a16="http://schemas.microsoft.com/office/drawing/2014/main" id="{A922489C-359B-4037-AA63-D6F80DF745A9}"/>
              </a:ext>
            </a:extLst>
          </p:cNvPr>
          <p:cNvSpPr/>
          <p:nvPr/>
        </p:nvSpPr>
        <p:spPr>
          <a:xfrm>
            <a:off x="1304371" y="2278069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A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id="{A6B8C6AB-8F93-4A07-8539-77F84E8CB920}"/>
              </a:ext>
            </a:extLst>
          </p:cNvPr>
          <p:cNvSpPr/>
          <p:nvPr/>
        </p:nvSpPr>
        <p:spPr>
          <a:xfrm>
            <a:off x="1304371" y="3046316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B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52" name="Rounded Rectangle 33">
            <a:extLst>
              <a:ext uri="{FF2B5EF4-FFF2-40B4-BE49-F238E27FC236}">
                <a16:creationId xmlns:a16="http://schemas.microsoft.com/office/drawing/2014/main" id="{1FE4F009-60A0-4E89-B2B5-349D6349E1A7}"/>
              </a:ext>
            </a:extLst>
          </p:cNvPr>
          <p:cNvSpPr/>
          <p:nvPr/>
        </p:nvSpPr>
        <p:spPr>
          <a:xfrm>
            <a:off x="3177698" y="4287865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F9D97B3D-AA55-4F84-92D3-F83A39BD4C6A}"/>
              </a:ext>
            </a:extLst>
          </p:cNvPr>
          <p:cNvSpPr/>
          <p:nvPr/>
        </p:nvSpPr>
        <p:spPr>
          <a:xfrm rot="16200000">
            <a:off x="2090996" y="4637037"/>
            <a:ext cx="1217685" cy="51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/>
              <a:t>Funcionalidades del cliente</a:t>
            </a:r>
            <a:endParaRPr lang="es-CO" sz="1200" dirty="0"/>
          </a:p>
        </p:txBody>
      </p:sp>
      <p:sp>
        <p:nvSpPr>
          <p:cNvPr id="54" name="Rounded Rectangle 33">
            <a:extLst>
              <a:ext uri="{FF2B5EF4-FFF2-40B4-BE49-F238E27FC236}">
                <a16:creationId xmlns:a16="http://schemas.microsoft.com/office/drawing/2014/main" id="{20D89679-261F-448C-98BB-8B74DEF31B0F}"/>
              </a:ext>
            </a:extLst>
          </p:cNvPr>
          <p:cNvSpPr/>
          <p:nvPr/>
        </p:nvSpPr>
        <p:spPr>
          <a:xfrm>
            <a:off x="3177698" y="4899669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bg1">
              <a:lumMod val="65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pPr algn="ctr"/>
            <a:r>
              <a:rPr lang="es-ES" sz="1000" dirty="0"/>
              <a:t>Funcionalidad del cliente</a:t>
            </a:r>
            <a:endParaRPr lang="es-CO" sz="1000" dirty="0"/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788AD379-DE83-435C-8CE1-CE0A17A79226}"/>
              </a:ext>
            </a:extLst>
          </p:cNvPr>
          <p:cNvSpPr/>
          <p:nvPr/>
        </p:nvSpPr>
        <p:spPr>
          <a:xfrm rot="16200000">
            <a:off x="2090998" y="5927613"/>
            <a:ext cx="1217684" cy="51933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/>
              <a:t>Funcionalidades Negocio</a:t>
            </a:r>
            <a:endParaRPr lang="es-CO" sz="1200" dirty="0"/>
          </a:p>
        </p:txBody>
      </p:sp>
      <p:sp>
        <p:nvSpPr>
          <p:cNvPr id="56" name="Rounded Rectangle 33">
            <a:extLst>
              <a:ext uri="{FF2B5EF4-FFF2-40B4-BE49-F238E27FC236}">
                <a16:creationId xmlns:a16="http://schemas.microsoft.com/office/drawing/2014/main" id="{EB8ED516-F77B-4233-84F3-24E826CEF37E}"/>
              </a:ext>
            </a:extLst>
          </p:cNvPr>
          <p:cNvSpPr/>
          <p:nvPr/>
        </p:nvSpPr>
        <p:spPr>
          <a:xfrm>
            <a:off x="3177698" y="5578441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negocio</a:t>
            </a:r>
            <a:endParaRPr lang="es-CO" sz="1050" dirty="0"/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id="{7B6EDF03-ED06-4408-BA58-F49BAC037618}"/>
              </a:ext>
            </a:extLst>
          </p:cNvPr>
          <p:cNvSpPr/>
          <p:nvPr/>
        </p:nvSpPr>
        <p:spPr>
          <a:xfrm>
            <a:off x="1304371" y="4716705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C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59" name="Elipse 58">
            <a:extLst>
              <a:ext uri="{FF2B5EF4-FFF2-40B4-BE49-F238E27FC236}">
                <a16:creationId xmlns:a16="http://schemas.microsoft.com/office/drawing/2014/main" id="{87221B4F-663D-43F5-8A8A-F37A3A291CE5}"/>
              </a:ext>
            </a:extLst>
          </p:cNvPr>
          <p:cNvSpPr/>
          <p:nvPr/>
        </p:nvSpPr>
        <p:spPr>
          <a:xfrm>
            <a:off x="1304371" y="6007281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D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60" name="Rounded Rectangle 33">
            <a:extLst>
              <a:ext uri="{FF2B5EF4-FFF2-40B4-BE49-F238E27FC236}">
                <a16:creationId xmlns:a16="http://schemas.microsoft.com/office/drawing/2014/main" id="{FAF7A583-E621-41E9-96C2-C098CFCB20A8}"/>
              </a:ext>
            </a:extLst>
          </p:cNvPr>
          <p:cNvSpPr/>
          <p:nvPr/>
        </p:nvSpPr>
        <p:spPr>
          <a:xfrm>
            <a:off x="4333826" y="4273466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61" name="Rounded Rectangle 33">
            <a:extLst>
              <a:ext uri="{FF2B5EF4-FFF2-40B4-BE49-F238E27FC236}">
                <a16:creationId xmlns:a16="http://schemas.microsoft.com/office/drawing/2014/main" id="{E6EC5A76-1C1B-44F7-9F8A-345532A92909}"/>
              </a:ext>
            </a:extLst>
          </p:cNvPr>
          <p:cNvSpPr/>
          <p:nvPr/>
        </p:nvSpPr>
        <p:spPr>
          <a:xfrm>
            <a:off x="4333826" y="4885270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64" name="Rounded Rectangle 33">
            <a:extLst>
              <a:ext uri="{FF2B5EF4-FFF2-40B4-BE49-F238E27FC236}">
                <a16:creationId xmlns:a16="http://schemas.microsoft.com/office/drawing/2014/main" id="{2C7E1479-5A80-498C-A15D-5F9733D1198A}"/>
              </a:ext>
            </a:extLst>
          </p:cNvPr>
          <p:cNvSpPr/>
          <p:nvPr/>
        </p:nvSpPr>
        <p:spPr>
          <a:xfrm>
            <a:off x="5499334" y="4273466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65" name="Rounded Rectangle 33">
            <a:extLst>
              <a:ext uri="{FF2B5EF4-FFF2-40B4-BE49-F238E27FC236}">
                <a16:creationId xmlns:a16="http://schemas.microsoft.com/office/drawing/2014/main" id="{908627A8-D804-4FBB-9125-B1ECFF1A3D70}"/>
              </a:ext>
            </a:extLst>
          </p:cNvPr>
          <p:cNvSpPr/>
          <p:nvPr/>
        </p:nvSpPr>
        <p:spPr>
          <a:xfrm>
            <a:off x="5499334" y="4885270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68" name="Rounded Rectangle 33">
            <a:extLst>
              <a:ext uri="{FF2B5EF4-FFF2-40B4-BE49-F238E27FC236}">
                <a16:creationId xmlns:a16="http://schemas.microsoft.com/office/drawing/2014/main" id="{D30526E5-A893-4844-8EAC-9C12FEDCD05E}"/>
              </a:ext>
            </a:extLst>
          </p:cNvPr>
          <p:cNvSpPr/>
          <p:nvPr/>
        </p:nvSpPr>
        <p:spPr>
          <a:xfrm>
            <a:off x="6653836" y="4273466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69" name="Rounded Rectangle 33">
            <a:extLst>
              <a:ext uri="{FF2B5EF4-FFF2-40B4-BE49-F238E27FC236}">
                <a16:creationId xmlns:a16="http://schemas.microsoft.com/office/drawing/2014/main" id="{3CE27002-EF4D-40F1-B7EC-72110CB2C60C}"/>
              </a:ext>
            </a:extLst>
          </p:cNvPr>
          <p:cNvSpPr/>
          <p:nvPr/>
        </p:nvSpPr>
        <p:spPr>
          <a:xfrm>
            <a:off x="6653836" y="4885270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72" name="Rounded Rectangle 33">
            <a:extLst>
              <a:ext uri="{FF2B5EF4-FFF2-40B4-BE49-F238E27FC236}">
                <a16:creationId xmlns:a16="http://schemas.microsoft.com/office/drawing/2014/main" id="{805F1FA3-8DEE-4E0E-A859-A4A90F962A44}"/>
              </a:ext>
            </a:extLst>
          </p:cNvPr>
          <p:cNvSpPr/>
          <p:nvPr/>
        </p:nvSpPr>
        <p:spPr>
          <a:xfrm>
            <a:off x="7890675" y="4273466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73" name="Rounded Rectangle 33">
            <a:extLst>
              <a:ext uri="{FF2B5EF4-FFF2-40B4-BE49-F238E27FC236}">
                <a16:creationId xmlns:a16="http://schemas.microsoft.com/office/drawing/2014/main" id="{3D32C2C1-57BF-494E-B34B-08F8283AF0BB}"/>
              </a:ext>
            </a:extLst>
          </p:cNvPr>
          <p:cNvSpPr/>
          <p:nvPr/>
        </p:nvSpPr>
        <p:spPr>
          <a:xfrm>
            <a:off x="7890675" y="4885270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76" name="Rounded Rectangle 33">
            <a:extLst>
              <a:ext uri="{FF2B5EF4-FFF2-40B4-BE49-F238E27FC236}">
                <a16:creationId xmlns:a16="http://schemas.microsoft.com/office/drawing/2014/main" id="{51553723-FFEF-4658-9FED-B65DEDE3DAFD}"/>
              </a:ext>
            </a:extLst>
          </p:cNvPr>
          <p:cNvSpPr/>
          <p:nvPr/>
        </p:nvSpPr>
        <p:spPr>
          <a:xfrm>
            <a:off x="9042963" y="4290578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77" name="Rounded Rectangle 33">
            <a:extLst>
              <a:ext uri="{FF2B5EF4-FFF2-40B4-BE49-F238E27FC236}">
                <a16:creationId xmlns:a16="http://schemas.microsoft.com/office/drawing/2014/main" id="{F13156DA-A740-4B0F-BAD1-69E243B44307}"/>
              </a:ext>
            </a:extLst>
          </p:cNvPr>
          <p:cNvSpPr/>
          <p:nvPr/>
        </p:nvSpPr>
        <p:spPr>
          <a:xfrm>
            <a:off x="9042963" y="4902382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cliente</a:t>
            </a:r>
            <a:endParaRPr lang="es-CO" sz="1050" dirty="0"/>
          </a:p>
        </p:txBody>
      </p:sp>
      <p:sp>
        <p:nvSpPr>
          <p:cNvPr id="80" name="Elipse 79">
            <a:extLst>
              <a:ext uri="{FF2B5EF4-FFF2-40B4-BE49-F238E27FC236}">
                <a16:creationId xmlns:a16="http://schemas.microsoft.com/office/drawing/2014/main" id="{A4B38405-BB9D-4022-8822-B991650FC196}"/>
              </a:ext>
            </a:extLst>
          </p:cNvPr>
          <p:cNvSpPr/>
          <p:nvPr/>
        </p:nvSpPr>
        <p:spPr>
          <a:xfrm>
            <a:off x="2061960" y="1011438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A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E1F18FBF-3D3D-4590-9E1F-B495F4630936}"/>
              </a:ext>
            </a:extLst>
          </p:cNvPr>
          <p:cNvSpPr txBox="1"/>
          <p:nvPr/>
        </p:nvSpPr>
        <p:spPr>
          <a:xfrm>
            <a:off x="978568" y="1432721"/>
            <a:ext cx="2489704" cy="6001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/>
              <a:t>Momentos</a:t>
            </a:r>
          </a:p>
          <a:p>
            <a:pPr algn="ctr"/>
            <a:r>
              <a:rPr lang="es-ES" sz="1100" dirty="0"/>
              <a:t>Etapas de la experiencia, que deben contemplan el antes, durante y después</a:t>
            </a:r>
            <a:endParaRPr lang="es-CO" sz="1600" dirty="0"/>
          </a:p>
        </p:txBody>
      </p:sp>
      <p:sp>
        <p:nvSpPr>
          <p:cNvPr id="82" name="Elipse 81">
            <a:extLst>
              <a:ext uri="{FF2B5EF4-FFF2-40B4-BE49-F238E27FC236}">
                <a16:creationId xmlns:a16="http://schemas.microsoft.com/office/drawing/2014/main" id="{3A4CFB5D-B6A3-49AA-83CB-92A05BA5E595}"/>
              </a:ext>
            </a:extLst>
          </p:cNvPr>
          <p:cNvSpPr/>
          <p:nvPr/>
        </p:nvSpPr>
        <p:spPr>
          <a:xfrm>
            <a:off x="4713890" y="1015140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B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3" name="CuadroTexto 82">
            <a:extLst>
              <a:ext uri="{FF2B5EF4-FFF2-40B4-BE49-F238E27FC236}">
                <a16:creationId xmlns:a16="http://schemas.microsoft.com/office/drawing/2014/main" id="{9F4078F5-73CB-4320-A6EA-1944D27FF222}"/>
              </a:ext>
            </a:extLst>
          </p:cNvPr>
          <p:cNvSpPr txBox="1"/>
          <p:nvPr/>
        </p:nvSpPr>
        <p:spPr>
          <a:xfrm>
            <a:off x="3630498" y="1436423"/>
            <a:ext cx="2489704" cy="6001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/>
              <a:t>Pasos del cliente</a:t>
            </a:r>
          </a:p>
          <a:p>
            <a:pPr algn="ctr"/>
            <a:r>
              <a:rPr lang="es-ES" sz="1100" dirty="0"/>
              <a:t>Detalla los pasos que debe seguir un cliente durante su experiencia</a:t>
            </a:r>
            <a:endParaRPr lang="es-CO" sz="1600" dirty="0"/>
          </a:p>
        </p:txBody>
      </p:sp>
      <p:sp>
        <p:nvSpPr>
          <p:cNvPr id="84" name="Elipse 83">
            <a:extLst>
              <a:ext uri="{FF2B5EF4-FFF2-40B4-BE49-F238E27FC236}">
                <a16:creationId xmlns:a16="http://schemas.microsoft.com/office/drawing/2014/main" id="{0DBE54A2-66A7-45CB-BCC8-ECBDA7DB5164}"/>
              </a:ext>
            </a:extLst>
          </p:cNvPr>
          <p:cNvSpPr/>
          <p:nvPr/>
        </p:nvSpPr>
        <p:spPr>
          <a:xfrm>
            <a:off x="7365820" y="1011438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C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8AE435AB-8343-4EA7-86A3-9FBC35B0EBEF}"/>
              </a:ext>
            </a:extLst>
          </p:cNvPr>
          <p:cNvSpPr txBox="1"/>
          <p:nvPr/>
        </p:nvSpPr>
        <p:spPr>
          <a:xfrm>
            <a:off x="6282428" y="1432721"/>
            <a:ext cx="2489704" cy="7694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/>
              <a:t>Funcionalidades del cliente</a:t>
            </a:r>
          </a:p>
          <a:p>
            <a:pPr algn="ctr"/>
            <a:r>
              <a:rPr lang="es-ES" sz="1100" dirty="0"/>
              <a:t>Funcionalidades que debe seguir el cliente en su jornada – puede ser más de 1 por pantalla</a:t>
            </a:r>
            <a:endParaRPr lang="es-CO" sz="1600" dirty="0"/>
          </a:p>
        </p:txBody>
      </p:sp>
      <p:sp>
        <p:nvSpPr>
          <p:cNvPr id="86" name="Elipse 85">
            <a:extLst>
              <a:ext uri="{FF2B5EF4-FFF2-40B4-BE49-F238E27FC236}">
                <a16:creationId xmlns:a16="http://schemas.microsoft.com/office/drawing/2014/main" id="{D96702B7-E4D5-4184-A420-E389BF65C211}"/>
              </a:ext>
            </a:extLst>
          </p:cNvPr>
          <p:cNvSpPr/>
          <p:nvPr/>
        </p:nvSpPr>
        <p:spPr>
          <a:xfrm>
            <a:off x="10017750" y="1015030"/>
            <a:ext cx="360000" cy="36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C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8FFF9F37-453A-4798-B076-F27F7B7FCCA3}"/>
              </a:ext>
            </a:extLst>
          </p:cNvPr>
          <p:cNvSpPr txBox="1"/>
          <p:nvPr/>
        </p:nvSpPr>
        <p:spPr>
          <a:xfrm>
            <a:off x="8934358" y="1436313"/>
            <a:ext cx="2489704" cy="7694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/>
              <a:t>Funcionalidades del negocio</a:t>
            </a:r>
          </a:p>
          <a:p>
            <a:pPr algn="ctr"/>
            <a:r>
              <a:rPr lang="es-ES" sz="1100" dirty="0"/>
              <a:t>Funcionalidades que debe habilitar Claro para hacer realidad las funcionalidades de cliente – Componen la solución</a:t>
            </a:r>
            <a:endParaRPr lang="es-CO" sz="1600" dirty="0"/>
          </a:p>
        </p:txBody>
      </p:sp>
      <p:sp>
        <p:nvSpPr>
          <p:cNvPr id="2" name="Rounded Rectangle 33">
            <a:extLst>
              <a:ext uri="{FF2B5EF4-FFF2-40B4-BE49-F238E27FC236}">
                <a16:creationId xmlns:a16="http://schemas.microsoft.com/office/drawing/2014/main" id="{2B4FC9A9-B2BC-6AA0-5144-791B8C596664}"/>
              </a:ext>
            </a:extLst>
          </p:cNvPr>
          <p:cNvSpPr/>
          <p:nvPr/>
        </p:nvSpPr>
        <p:spPr>
          <a:xfrm>
            <a:off x="3177697" y="6187281"/>
            <a:ext cx="996063" cy="520379"/>
          </a:xfrm>
          <a:prstGeom prst="roundRect">
            <a:avLst>
              <a:gd name="adj" fmla="val 9994"/>
            </a:avLst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ES" sz="1050" dirty="0"/>
              <a:t>Funcionalidad del negocio</a:t>
            </a:r>
            <a:endParaRPr lang="es-CO" sz="1050" dirty="0"/>
          </a:p>
        </p:txBody>
      </p:sp>
    </p:spTree>
    <p:extLst>
      <p:ext uri="{BB962C8B-B14F-4D97-AF65-F5344CB8AC3E}">
        <p14:creationId xmlns:p14="http://schemas.microsoft.com/office/powerpoint/2010/main" val="3790654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20" grpId="0" animBg="1"/>
      <p:bldP spid="21" grpId="0" animBg="1"/>
      <p:bldP spid="25" grpId="0" animBg="1"/>
      <p:bldP spid="26" grpId="0" animBg="1"/>
      <p:bldP spid="30" grpId="0" animBg="1"/>
      <p:bldP spid="31" grpId="0" animBg="1"/>
      <p:bldP spid="35" grpId="0" animBg="1"/>
      <p:bldP spid="36" grpId="0" animBg="1"/>
      <p:bldP spid="40" grpId="0" animBg="1"/>
      <p:bldP spid="41" grpId="0" animBg="1"/>
      <p:bldP spid="45" grpId="0" animBg="1"/>
      <p:bldP spid="46" grpId="0" animBg="1"/>
      <p:bldP spid="52" grpId="0" animBg="1"/>
      <p:bldP spid="54" grpId="0" animBg="1"/>
      <p:bldP spid="56" grpId="0" animBg="1"/>
      <p:bldP spid="60" grpId="0" animBg="1"/>
      <p:bldP spid="61" grpId="0" animBg="1"/>
      <p:bldP spid="64" grpId="0" animBg="1"/>
      <p:bldP spid="65" grpId="0" animBg="1"/>
      <p:bldP spid="68" grpId="0" animBg="1"/>
      <p:bldP spid="69" grpId="0" animBg="1"/>
      <p:bldP spid="72" grpId="0" animBg="1"/>
      <p:bldP spid="73" grpId="0" animBg="1"/>
      <p:bldP spid="76" grpId="0" animBg="1"/>
      <p:bldP spid="77" grpId="0" animBg="1"/>
      <p:bldP spid="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0" y="0"/>
            <a:ext cx="12192000" cy="9256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>
            <a:outerShdw dist="25400" dir="5400000" algn="ctr" rotWithShape="0">
              <a:schemeClr val="accent2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400" b="1" dirty="0" err="1">
                <a:solidFill>
                  <a:schemeClr val="tx1"/>
                </a:solidFill>
              </a:rPr>
              <a:t>Metodológia</a:t>
            </a:r>
            <a:r>
              <a:rPr lang="es-ES" sz="2400" b="1" dirty="0">
                <a:solidFill>
                  <a:schemeClr val="tx1"/>
                </a:solidFill>
              </a:rPr>
              <a:t> para construir un </a:t>
            </a:r>
            <a:r>
              <a:rPr lang="es-ES" sz="2400" b="1" dirty="0" err="1">
                <a:solidFill>
                  <a:schemeClr val="tx1"/>
                </a:solidFill>
              </a:rPr>
              <a:t>Customer</a:t>
            </a:r>
            <a:r>
              <a:rPr lang="es-ES" sz="2400" b="1" dirty="0">
                <a:solidFill>
                  <a:schemeClr val="tx1"/>
                </a:solidFill>
              </a:rPr>
              <a:t> </a:t>
            </a:r>
            <a:r>
              <a:rPr lang="es-ES" sz="2400" b="1" dirty="0" err="1">
                <a:solidFill>
                  <a:schemeClr val="tx1"/>
                </a:solidFill>
              </a:rPr>
              <a:t>Journey</a:t>
            </a:r>
            <a:endParaRPr lang="es-ES" sz="2400" b="1" dirty="0">
              <a:solidFill>
                <a:schemeClr val="tx1"/>
              </a:solidFill>
            </a:endParaRPr>
          </a:p>
          <a:p>
            <a:r>
              <a:rPr lang="es-ES" sz="2400" dirty="0">
                <a:solidFill>
                  <a:schemeClr val="tx1"/>
                </a:solidFill>
              </a:rPr>
              <a:t>Componentes básicos del </a:t>
            </a:r>
            <a:r>
              <a:rPr lang="es-ES" sz="2400" dirty="0" err="1">
                <a:solidFill>
                  <a:schemeClr val="tx1"/>
                </a:solidFill>
              </a:rPr>
              <a:t>customer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journey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map</a:t>
            </a:r>
            <a:endParaRPr lang="es-CO" sz="2400" dirty="0">
              <a:solidFill>
                <a:schemeClr val="tx1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CE4B61F-0A58-3109-9476-36375E2F5E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630" y="1086263"/>
            <a:ext cx="9480739" cy="543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8036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0"/>
            <a:ext cx="12192000" cy="7050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>
            <a:outerShdw blurRad="12700" dist="12700" dir="5400000" algn="ctr" rotWithShape="0">
              <a:srgbClr val="FF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err="1">
                <a:solidFill>
                  <a:schemeClr val="accent2"/>
                </a:solidFill>
              </a:rPr>
              <a:t>Architecting</a:t>
            </a:r>
            <a:r>
              <a:rPr lang="es-ES" dirty="0">
                <a:solidFill>
                  <a:schemeClr val="accent2"/>
                </a:solidFill>
              </a:rPr>
              <a:t> Digital </a:t>
            </a:r>
            <a:r>
              <a:rPr lang="es-ES" dirty="0" err="1">
                <a:solidFill>
                  <a:schemeClr val="accent2"/>
                </a:solidFill>
              </a:rPr>
              <a:t>Enterprises</a:t>
            </a:r>
            <a:endParaRPr lang="es-ES" dirty="0">
              <a:solidFill>
                <a:schemeClr val="accent2"/>
              </a:solidFill>
            </a:endParaRPr>
          </a:p>
          <a:p>
            <a:r>
              <a:rPr lang="es-ES" b="1" dirty="0" err="1">
                <a:solidFill>
                  <a:schemeClr val="tx1"/>
                </a:solidFill>
              </a:rPr>
              <a:t>Customer</a:t>
            </a:r>
            <a:r>
              <a:rPr lang="es-ES" b="1" dirty="0">
                <a:solidFill>
                  <a:schemeClr val="tx1"/>
                </a:solidFill>
              </a:rPr>
              <a:t> </a:t>
            </a:r>
            <a:r>
              <a:rPr lang="es-ES" b="1" dirty="0" err="1">
                <a:solidFill>
                  <a:schemeClr val="tx1"/>
                </a:solidFill>
              </a:rPr>
              <a:t>Journey</a:t>
            </a:r>
            <a:endParaRPr lang="es-ES" dirty="0">
              <a:solidFill>
                <a:schemeClr val="tx1"/>
              </a:solidFill>
            </a:endParaRPr>
          </a:p>
        </p:txBody>
      </p:sp>
      <p:cxnSp>
        <p:nvCxnSpPr>
          <p:cNvPr id="5" name="Conector recto 4"/>
          <p:cNvCxnSpPr>
            <a:endCxn id="8" idx="6"/>
          </p:cNvCxnSpPr>
          <p:nvPr/>
        </p:nvCxnSpPr>
        <p:spPr>
          <a:xfrm>
            <a:off x="253863" y="1526342"/>
            <a:ext cx="11684493" cy="2238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ipse 5"/>
          <p:cNvSpPr/>
          <p:nvPr/>
        </p:nvSpPr>
        <p:spPr>
          <a:xfrm>
            <a:off x="162982" y="1430646"/>
            <a:ext cx="180000" cy="1800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Elipse 7"/>
          <p:cNvSpPr/>
          <p:nvPr/>
        </p:nvSpPr>
        <p:spPr>
          <a:xfrm>
            <a:off x="11758356" y="143858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9" name="Rectangle 13"/>
          <p:cNvSpPr/>
          <p:nvPr/>
        </p:nvSpPr>
        <p:spPr>
          <a:xfrm>
            <a:off x="827086" y="1703006"/>
            <a:ext cx="820320" cy="4284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Exploración del producto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10" name="Elipse 9"/>
          <p:cNvSpPr/>
          <p:nvPr/>
        </p:nvSpPr>
        <p:spPr>
          <a:xfrm>
            <a:off x="1144082" y="1434078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1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2564817" y="1430646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2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12" name="Rectangle 15"/>
          <p:cNvSpPr/>
          <p:nvPr/>
        </p:nvSpPr>
        <p:spPr>
          <a:xfrm>
            <a:off x="2027493" y="1737722"/>
            <a:ext cx="1290648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CL" sz="1200" b="1" i="1" dirty="0">
                <a:solidFill>
                  <a:schemeClr val="tx1"/>
                </a:solidFill>
              </a:rPr>
              <a:t>Selección de plan </a:t>
            </a:r>
            <a:r>
              <a:rPr lang="es-CL" sz="1200" b="1" i="1" dirty="0" err="1">
                <a:solidFill>
                  <a:schemeClr val="tx1"/>
                </a:solidFill>
              </a:rPr>
              <a:t>postpago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13" name="Rectangle 15"/>
          <p:cNvSpPr/>
          <p:nvPr/>
        </p:nvSpPr>
        <p:spPr>
          <a:xfrm>
            <a:off x="6281912" y="1740900"/>
            <a:ext cx="1021333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CO" sz="1200" b="1" dirty="0">
                <a:solidFill>
                  <a:schemeClr val="tx1"/>
                </a:solidFill>
              </a:rPr>
              <a:t>Pago y confirmación</a:t>
            </a:r>
          </a:p>
        </p:txBody>
      </p:sp>
      <p:sp>
        <p:nvSpPr>
          <p:cNvPr id="14" name="Rectángulo 13"/>
          <p:cNvSpPr/>
          <p:nvPr/>
        </p:nvSpPr>
        <p:spPr>
          <a:xfrm rot="16200000">
            <a:off x="-696305" y="3614917"/>
            <a:ext cx="2020120" cy="449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dirty="0"/>
              <a:t>Acciones del cliente</a:t>
            </a:r>
            <a:endParaRPr lang="es-CO" sz="1600" dirty="0"/>
          </a:p>
        </p:txBody>
      </p:sp>
      <p:grpSp>
        <p:nvGrpSpPr>
          <p:cNvPr id="15" name="Group 55"/>
          <p:cNvGrpSpPr/>
          <p:nvPr/>
        </p:nvGrpSpPr>
        <p:grpSpPr>
          <a:xfrm>
            <a:off x="754050" y="2074269"/>
            <a:ext cx="996063" cy="640863"/>
            <a:chOff x="1068945" y="1921962"/>
            <a:chExt cx="1046039" cy="694268"/>
          </a:xfrm>
        </p:grpSpPr>
        <p:pic>
          <p:nvPicPr>
            <p:cNvPr id="16" name="Picture 5" descr="C:\Users\Hidalgo Juan\Desktop\BCI\CHIP customer journey module\Workshop - Voice of the customer\Output\Maria Dream Journey\maria 3v3 sketch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17" name="Rectangle 20"/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Group 54"/>
          <p:cNvGrpSpPr/>
          <p:nvPr/>
        </p:nvGrpSpPr>
        <p:grpSpPr>
          <a:xfrm>
            <a:off x="3559141" y="2066088"/>
            <a:ext cx="996063" cy="640863"/>
            <a:chOff x="7574262" y="1913443"/>
            <a:chExt cx="1046039" cy="694268"/>
          </a:xfrm>
        </p:grpSpPr>
        <p:pic>
          <p:nvPicPr>
            <p:cNvPr id="19" name="Picture 2" descr="C:\Users\Abadia Juan\AppData\Local\Microsoft\Windows\Temporary Internet Files\Content.Outlook\VLZCRV92\IMG_1143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682352" y="1949672"/>
              <a:ext cx="829859" cy="621810"/>
            </a:xfrm>
            <a:prstGeom prst="rect">
              <a:avLst/>
            </a:prstGeom>
            <a:noFill/>
          </p:spPr>
        </p:pic>
        <p:sp>
          <p:nvSpPr>
            <p:cNvPr id="20" name="Rectangle 52"/>
            <p:cNvSpPr/>
            <p:nvPr/>
          </p:nvSpPr>
          <p:spPr>
            <a:xfrm>
              <a:off x="7574262" y="1913443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 42"/>
          <p:cNvGrpSpPr/>
          <p:nvPr/>
        </p:nvGrpSpPr>
        <p:grpSpPr>
          <a:xfrm>
            <a:off x="4975769" y="2121841"/>
            <a:ext cx="996063" cy="640863"/>
            <a:chOff x="7682352" y="1957898"/>
            <a:chExt cx="1046039" cy="694268"/>
          </a:xfrm>
        </p:grpSpPr>
        <p:pic>
          <p:nvPicPr>
            <p:cNvPr id="22" name="0CE3B9D9-AC3D-49D7-8C49-7E9E993885E1" descr="image3.JPG"/>
            <p:cNvPicPr preferRelativeResize="0">
              <a:picLocks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790441" y="1993835"/>
              <a:ext cx="829859" cy="6223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" name="Rectangle 56"/>
            <p:cNvSpPr/>
            <p:nvPr/>
          </p:nvSpPr>
          <p:spPr>
            <a:xfrm>
              <a:off x="7682352" y="1957898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oup 182"/>
          <p:cNvGrpSpPr/>
          <p:nvPr/>
        </p:nvGrpSpPr>
        <p:grpSpPr>
          <a:xfrm>
            <a:off x="2110619" y="2074269"/>
            <a:ext cx="996063" cy="661098"/>
            <a:chOff x="7848800" y="1574811"/>
            <a:chExt cx="1046039" cy="694268"/>
          </a:xfrm>
        </p:grpSpPr>
        <p:pic>
          <p:nvPicPr>
            <p:cNvPr id="25" name="Picture 30" descr="Camila 060.JPG"/>
            <p:cNvPicPr>
              <a:picLocks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891654" y="1641129"/>
              <a:ext cx="989329" cy="573092"/>
            </a:xfrm>
            <a:prstGeom prst="rect">
              <a:avLst/>
            </a:prstGeom>
          </p:spPr>
        </p:pic>
        <p:sp>
          <p:nvSpPr>
            <p:cNvPr id="26" name="Rectangle 31"/>
            <p:cNvSpPr/>
            <p:nvPr/>
          </p:nvSpPr>
          <p:spPr>
            <a:xfrm>
              <a:off x="7848800" y="1574811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5700" bIns="85700" rtlCol="0" anchor="ctr" anchorCtr="0"/>
            <a:lstStyle/>
            <a:p>
              <a:pPr algn="ctr"/>
              <a:endParaRPr lang="es-CO" sz="1333" dirty="0">
                <a:solidFill>
                  <a:schemeClr val="tx1"/>
                </a:solidFill>
              </a:endParaRPr>
            </a:p>
          </p:txBody>
        </p:sp>
      </p:grpSp>
      <p:sp>
        <p:nvSpPr>
          <p:cNvPr id="27" name="Elipse 26"/>
          <p:cNvSpPr/>
          <p:nvPr/>
        </p:nvSpPr>
        <p:spPr>
          <a:xfrm>
            <a:off x="3949174" y="1439236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3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8" name="Rectangle 15"/>
          <p:cNvSpPr/>
          <p:nvPr/>
        </p:nvSpPr>
        <p:spPr>
          <a:xfrm>
            <a:off x="3536347" y="1699498"/>
            <a:ext cx="1041655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Información del usuario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29" name="Pentágono 28"/>
          <p:cNvSpPr/>
          <p:nvPr/>
        </p:nvSpPr>
        <p:spPr>
          <a:xfrm>
            <a:off x="632472" y="944558"/>
            <a:ext cx="2685669" cy="334850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/>
              <a:t>Exploración</a:t>
            </a:r>
            <a:endParaRPr lang="es-CO" b="1" dirty="0"/>
          </a:p>
        </p:txBody>
      </p:sp>
      <p:sp>
        <p:nvSpPr>
          <p:cNvPr id="30" name="Pentágono 29"/>
          <p:cNvSpPr/>
          <p:nvPr/>
        </p:nvSpPr>
        <p:spPr>
          <a:xfrm>
            <a:off x="3426275" y="941438"/>
            <a:ext cx="1345319" cy="334850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/>
              <a:t>Compra</a:t>
            </a:r>
            <a:endParaRPr lang="es-CO" b="1" dirty="0"/>
          </a:p>
        </p:txBody>
      </p:sp>
      <p:sp>
        <p:nvSpPr>
          <p:cNvPr id="31" name="Elipse 30"/>
          <p:cNvSpPr/>
          <p:nvPr/>
        </p:nvSpPr>
        <p:spPr>
          <a:xfrm>
            <a:off x="5358633" y="1439236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6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32" name="Rectangle 15"/>
          <p:cNvSpPr/>
          <p:nvPr/>
        </p:nvSpPr>
        <p:spPr>
          <a:xfrm>
            <a:off x="5001775" y="1740900"/>
            <a:ext cx="1041655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CO" sz="1200" b="1" dirty="0">
                <a:solidFill>
                  <a:schemeClr val="tx1"/>
                </a:solidFill>
              </a:rPr>
              <a:t>Forma de pago y pago</a:t>
            </a:r>
          </a:p>
        </p:txBody>
      </p:sp>
      <p:sp>
        <p:nvSpPr>
          <p:cNvPr id="33" name="Pentágono 32"/>
          <p:cNvSpPr/>
          <p:nvPr/>
        </p:nvSpPr>
        <p:spPr>
          <a:xfrm>
            <a:off x="4975769" y="947988"/>
            <a:ext cx="2725796" cy="334850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/>
              <a:t>Pago</a:t>
            </a:r>
            <a:endParaRPr lang="es-CO" b="1" dirty="0"/>
          </a:p>
        </p:txBody>
      </p:sp>
      <p:sp>
        <p:nvSpPr>
          <p:cNvPr id="34" name="Elipse 33"/>
          <p:cNvSpPr/>
          <p:nvPr/>
        </p:nvSpPr>
        <p:spPr>
          <a:xfrm>
            <a:off x="6684578" y="1432403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8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35" name="Rounded Rectangle 33"/>
          <p:cNvSpPr/>
          <p:nvPr/>
        </p:nvSpPr>
        <p:spPr>
          <a:xfrm>
            <a:off x="745689" y="2841770"/>
            <a:ext cx="1091904" cy="52320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89999" rIns="0" bIns="89999" anchor="ctr"/>
          <a:lstStyle/>
          <a:p>
            <a:r>
              <a:rPr lang="es-CO" sz="1050" b="1" dirty="0"/>
              <a:t>Búsqueda del producto</a:t>
            </a:r>
          </a:p>
        </p:txBody>
      </p:sp>
      <p:grpSp>
        <p:nvGrpSpPr>
          <p:cNvPr id="36" name="Group 55"/>
          <p:cNvGrpSpPr/>
          <p:nvPr/>
        </p:nvGrpSpPr>
        <p:grpSpPr>
          <a:xfrm>
            <a:off x="6281702" y="2121841"/>
            <a:ext cx="996063" cy="640863"/>
            <a:chOff x="1068945" y="1921962"/>
            <a:chExt cx="1046039" cy="694268"/>
          </a:xfrm>
        </p:grpSpPr>
        <p:pic>
          <p:nvPicPr>
            <p:cNvPr id="37" name="Picture 5" descr="C:\Users\Hidalgo Juan\Desktop\BCI\CHIP customer journey module\Workshop - Voice of the customer\Output\Maria Dream Journey\maria 3v3 sketch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38" name="Rectangle 20"/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sp>
        <p:nvSpPr>
          <p:cNvPr id="39" name="Pentágono 38"/>
          <p:cNvSpPr/>
          <p:nvPr/>
        </p:nvSpPr>
        <p:spPr>
          <a:xfrm>
            <a:off x="7806797" y="947988"/>
            <a:ext cx="2390287" cy="334850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/>
              <a:t>Entrega</a:t>
            </a:r>
            <a:endParaRPr lang="es-CO" b="1" dirty="0"/>
          </a:p>
        </p:txBody>
      </p:sp>
      <p:sp>
        <p:nvSpPr>
          <p:cNvPr id="40" name="Elipse 39"/>
          <p:cNvSpPr/>
          <p:nvPr/>
        </p:nvSpPr>
        <p:spPr>
          <a:xfrm>
            <a:off x="8160444" y="1428972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9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41" name="Elipse 40"/>
          <p:cNvSpPr/>
          <p:nvPr/>
        </p:nvSpPr>
        <p:spPr>
          <a:xfrm>
            <a:off x="9543133" y="1429603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2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42" name="Rectangle 13"/>
          <p:cNvSpPr/>
          <p:nvPr/>
        </p:nvSpPr>
        <p:spPr>
          <a:xfrm>
            <a:off x="7765696" y="1739567"/>
            <a:ext cx="922952" cy="3221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eguimiento en línea </a:t>
            </a:r>
            <a:endParaRPr lang="es-CO" sz="1200" b="1" dirty="0">
              <a:solidFill>
                <a:schemeClr val="tx1"/>
              </a:solidFill>
            </a:endParaRPr>
          </a:p>
        </p:txBody>
      </p:sp>
      <p:sp>
        <p:nvSpPr>
          <p:cNvPr id="43" name="Rectangle 13"/>
          <p:cNvSpPr/>
          <p:nvPr/>
        </p:nvSpPr>
        <p:spPr>
          <a:xfrm>
            <a:off x="9254303" y="1737833"/>
            <a:ext cx="853142" cy="3238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Entrega </a:t>
            </a:r>
            <a:endParaRPr lang="es-CO" sz="1200" b="1" dirty="0">
              <a:solidFill>
                <a:schemeClr val="tx1"/>
              </a:solidFill>
            </a:endParaRPr>
          </a:p>
        </p:txBody>
      </p:sp>
      <p:grpSp>
        <p:nvGrpSpPr>
          <p:cNvPr id="44" name="Group 55"/>
          <p:cNvGrpSpPr/>
          <p:nvPr/>
        </p:nvGrpSpPr>
        <p:grpSpPr>
          <a:xfrm>
            <a:off x="7718903" y="2121945"/>
            <a:ext cx="996063" cy="640863"/>
            <a:chOff x="1068945" y="1921962"/>
            <a:chExt cx="1046039" cy="694268"/>
          </a:xfrm>
        </p:grpSpPr>
        <p:pic>
          <p:nvPicPr>
            <p:cNvPr id="45" name="Picture 5" descr="C:\Users\Hidalgo Juan\Desktop\BCI\CHIP customer journey module\Workshop - Voice of the customer\Output\Maria Dream Journey\maria 3v3 sketch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46" name="Rectangle 20"/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182"/>
          <p:cNvGrpSpPr/>
          <p:nvPr/>
        </p:nvGrpSpPr>
        <p:grpSpPr>
          <a:xfrm>
            <a:off x="9153101" y="2103387"/>
            <a:ext cx="996063" cy="661098"/>
            <a:chOff x="7848800" y="1574811"/>
            <a:chExt cx="1046039" cy="694268"/>
          </a:xfrm>
        </p:grpSpPr>
        <p:pic>
          <p:nvPicPr>
            <p:cNvPr id="48" name="Picture 30" descr="Camila 060.JPG"/>
            <p:cNvPicPr>
              <a:picLocks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891654" y="1641129"/>
              <a:ext cx="989329" cy="573092"/>
            </a:xfrm>
            <a:prstGeom prst="rect">
              <a:avLst/>
            </a:prstGeom>
          </p:spPr>
        </p:pic>
        <p:sp>
          <p:nvSpPr>
            <p:cNvPr id="49" name="Rectangle 31"/>
            <p:cNvSpPr/>
            <p:nvPr/>
          </p:nvSpPr>
          <p:spPr>
            <a:xfrm>
              <a:off x="7848800" y="1574811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5700" bIns="85700" rtlCol="0" anchor="ctr" anchorCtr="0"/>
            <a:lstStyle/>
            <a:p>
              <a:pPr algn="ctr"/>
              <a:endParaRPr lang="es-CO" sz="1333" dirty="0">
                <a:solidFill>
                  <a:schemeClr val="tx1"/>
                </a:solidFill>
              </a:endParaRPr>
            </a:p>
          </p:txBody>
        </p:sp>
      </p:grpSp>
      <p:sp>
        <p:nvSpPr>
          <p:cNvPr id="50" name="Pentágono 49"/>
          <p:cNvSpPr/>
          <p:nvPr/>
        </p:nvSpPr>
        <p:spPr>
          <a:xfrm>
            <a:off x="10327502" y="947988"/>
            <a:ext cx="1391657" cy="334850"/>
          </a:xfrm>
          <a:prstGeom prst="homePlate">
            <a:avLst>
              <a:gd name="adj" fmla="val 1538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/>
              <a:t>Post Servicio</a:t>
            </a:r>
            <a:endParaRPr lang="es-CO" b="1" dirty="0"/>
          </a:p>
        </p:txBody>
      </p:sp>
      <p:sp>
        <p:nvSpPr>
          <p:cNvPr id="51" name="Elipse 50"/>
          <p:cNvSpPr/>
          <p:nvPr/>
        </p:nvSpPr>
        <p:spPr>
          <a:xfrm>
            <a:off x="10850561" y="1406454"/>
            <a:ext cx="216000" cy="2160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solidFill>
                  <a:schemeClr val="bg1"/>
                </a:solidFill>
              </a:rPr>
              <a:t>9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52" name="Rectangle 13"/>
          <p:cNvSpPr/>
          <p:nvPr/>
        </p:nvSpPr>
        <p:spPr>
          <a:xfrm>
            <a:off x="10382701" y="1746071"/>
            <a:ext cx="1195059" cy="3156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Gestión de PQR</a:t>
            </a:r>
            <a:endParaRPr lang="es-CO" sz="1200" b="1" dirty="0">
              <a:solidFill>
                <a:schemeClr val="tx1"/>
              </a:solidFill>
            </a:endParaRPr>
          </a:p>
        </p:txBody>
      </p:sp>
      <p:grpSp>
        <p:nvGrpSpPr>
          <p:cNvPr id="53" name="Group 55"/>
          <p:cNvGrpSpPr/>
          <p:nvPr/>
        </p:nvGrpSpPr>
        <p:grpSpPr>
          <a:xfrm>
            <a:off x="10479754" y="2112476"/>
            <a:ext cx="996063" cy="640863"/>
            <a:chOff x="1068945" y="1921962"/>
            <a:chExt cx="1046039" cy="694268"/>
          </a:xfrm>
        </p:grpSpPr>
        <p:pic>
          <p:nvPicPr>
            <p:cNvPr id="54" name="Picture 5" descr="C:\Users\Hidalgo Juan\Desktop\BCI\CHIP customer journey module\Workshop - Voice of the customer\Output\Maria Dream Journey\maria 3v3 sketch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77265" y="1949672"/>
              <a:ext cx="829859" cy="622394"/>
            </a:xfrm>
            <a:prstGeom prst="rect">
              <a:avLst/>
            </a:prstGeom>
            <a:noFill/>
          </p:spPr>
        </p:pic>
        <p:sp>
          <p:nvSpPr>
            <p:cNvPr id="55" name="Rectangle 20"/>
            <p:cNvSpPr/>
            <p:nvPr/>
          </p:nvSpPr>
          <p:spPr>
            <a:xfrm>
              <a:off x="1068945" y="1921962"/>
              <a:ext cx="1046039" cy="69426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es-CO" sz="1292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7627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50" grpId="0" animBg="1"/>
      <p:bldP spid="51" grpId="0" animBg="1"/>
      <p:bldP spid="5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427" y="1316114"/>
            <a:ext cx="2145140" cy="4632995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0" y="0"/>
            <a:ext cx="12192000" cy="7050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>
            <a:outerShdw blurRad="12700" dist="12700" dir="5400000" algn="ctr" rotWithShape="0">
              <a:srgbClr val="FF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err="1">
                <a:solidFill>
                  <a:schemeClr val="accent2"/>
                </a:solidFill>
              </a:rPr>
              <a:t>Architecting</a:t>
            </a:r>
            <a:r>
              <a:rPr lang="es-ES" dirty="0">
                <a:solidFill>
                  <a:schemeClr val="accent2"/>
                </a:solidFill>
              </a:rPr>
              <a:t> Digital </a:t>
            </a:r>
            <a:r>
              <a:rPr lang="es-ES" dirty="0" err="1">
                <a:solidFill>
                  <a:schemeClr val="accent2"/>
                </a:solidFill>
              </a:rPr>
              <a:t>Enterprises</a:t>
            </a:r>
            <a:endParaRPr lang="es-ES" dirty="0">
              <a:solidFill>
                <a:schemeClr val="accent2"/>
              </a:solidFill>
            </a:endParaRPr>
          </a:p>
          <a:p>
            <a:r>
              <a:rPr lang="es-ES" b="1" dirty="0" err="1">
                <a:solidFill>
                  <a:schemeClr val="tx1"/>
                </a:solidFill>
              </a:rPr>
              <a:t>Protopado</a:t>
            </a:r>
            <a:endParaRPr lang="es-ES" dirty="0">
              <a:solidFill>
                <a:schemeClr val="tx1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235" y="1303261"/>
            <a:ext cx="2145140" cy="4632995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861" y="1314278"/>
            <a:ext cx="2145140" cy="4632995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8437" y="1314278"/>
            <a:ext cx="2145140" cy="4632995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7911" y="1314278"/>
            <a:ext cx="2145140" cy="4632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541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1414B9-6FC8-45CB-81E2-291D72D8D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057" y="116752"/>
            <a:ext cx="11340000" cy="432000"/>
          </a:xfrm>
        </p:spPr>
        <p:txBody>
          <a:bodyPr>
            <a:normAutofit/>
          </a:bodyPr>
          <a:lstStyle/>
          <a:p>
            <a:r>
              <a:rPr lang="es-CO" sz="2400" i="1" dirty="0">
                <a:latin typeface="+mn-lt"/>
                <a:ea typeface="+mn-ea"/>
                <a:cs typeface="+mn-cs"/>
              </a:rPr>
              <a:t>Optimizar las jornadas de cliente para digital es un viaje… Proponer</a:t>
            </a:r>
          </a:p>
        </p:txBody>
      </p:sp>
      <p:sp>
        <p:nvSpPr>
          <p:cNvPr id="11" name="Rectángulo 10" descr="Bloque de énfasis izquierdo">
            <a:extLst>
              <a:ext uri="{FF2B5EF4-FFF2-40B4-BE49-F238E27FC236}">
                <a16:creationId xmlns:a16="http://schemas.microsoft.com/office/drawing/2014/main" id="{E15BD9E3-ECE4-45D2-8128-B82FDD0D3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13057" y="560471"/>
            <a:ext cx="6213499" cy="11359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908" y="853359"/>
            <a:ext cx="9896858" cy="5533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452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Object 7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6194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6" name="Object 7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96194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764166" y="2579805"/>
            <a:ext cx="4564844" cy="875682"/>
          </a:xfrm>
          <a:prstGeom prst="rect">
            <a:avLst/>
          </a:prstGeom>
          <a:noFill/>
          <a:ln w="9525">
            <a:noFill/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53982" bIns="0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</a:pPr>
            <a:r>
              <a:rPr lang="es-CO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igración hacia la Nube</a:t>
            </a:r>
          </a:p>
          <a:p>
            <a:pPr>
              <a:buClr>
                <a:srgbClr val="000000"/>
              </a:buClr>
              <a:buSzPct val="100000"/>
              <a:buFont typeface=""/>
            </a:pPr>
            <a:r>
              <a:rPr lang="es-CO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ovimiento progresivo de los componentes de TI a una infraestructura de alojamiento que puede ofrecer hardware y software como servicio desde la red</a:t>
            </a:r>
            <a:endParaRPr lang="es-CO" sz="11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9981" y="2579805"/>
            <a:ext cx="867011" cy="875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786681" y="2403631"/>
            <a:ext cx="252000" cy="216000"/>
          </a:xfrm>
          <a:prstGeom prst="ellipse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69" name="Rectangle 68"/>
          <p:cNvSpPr/>
          <p:nvPr/>
        </p:nvSpPr>
        <p:spPr>
          <a:xfrm>
            <a:off x="1764166" y="3603405"/>
            <a:ext cx="4564844" cy="875682"/>
          </a:xfrm>
          <a:prstGeom prst="rect">
            <a:avLst/>
          </a:prstGeom>
          <a:noFill/>
          <a:ln w="9525">
            <a:noFill/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0" bIns="0" rtlCol="0" anchor="ctr" anchorCtr="0"/>
          <a:lstStyle/>
          <a:p>
            <a:pPr lvl="0">
              <a:buClr>
                <a:srgbClr val="000000"/>
              </a:buClr>
              <a:buSzPct val="100000"/>
            </a:pPr>
            <a:r>
              <a:rPr lang="es-CO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cial, Local: Móvil</a:t>
            </a:r>
          </a:p>
          <a:p>
            <a:pPr lvl="0">
              <a:buClr>
                <a:srgbClr val="000000"/>
              </a:buClr>
              <a:buSzPct val="100000"/>
            </a:pPr>
            <a:r>
              <a:rPr lang="es-CO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vergencia de tecnologías colaborativas, basadas en la ubicación y portátiles que ayudan a generar ideas del comportamiento individual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764166" y="4622891"/>
            <a:ext cx="4564844" cy="875682"/>
          </a:xfrm>
          <a:prstGeom prst="rect">
            <a:avLst/>
          </a:prstGeom>
          <a:noFill/>
          <a:ln w="9525">
            <a:noFill/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0" bIns="0" rtlCol="0" anchor="ctr" anchorCtr="0"/>
          <a:lstStyle/>
          <a:p>
            <a:pPr lvl="0">
              <a:buClr>
                <a:srgbClr val="000000"/>
              </a:buClr>
              <a:buSzPct val="100000"/>
            </a:pPr>
            <a:r>
              <a:rPr lang="es-CO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et de las cosas</a:t>
            </a:r>
          </a:p>
          <a:p>
            <a:pPr lvl="0">
              <a:buClr>
                <a:srgbClr val="000000"/>
              </a:buClr>
              <a:buSzPct val="100000"/>
            </a:pPr>
            <a:r>
              <a:rPr lang="es-CO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veer a los objetos cotidianos con capacidades de conexión para intercambiar información con otros objetos y así mejorar el desempeño del servicio individual y colectivo</a:t>
            </a:r>
          </a:p>
        </p:txBody>
      </p:sp>
      <p:pic>
        <p:nvPicPr>
          <p:cNvPr id="73" name="Picture 6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899980" y="3603405"/>
            <a:ext cx="867097" cy="875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" name="Picture 7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9979" y="4622891"/>
            <a:ext cx="867012" cy="875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786681" y="3495405"/>
            <a:ext cx="252000" cy="216000"/>
          </a:xfrm>
          <a:prstGeom prst="ellipse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786681" y="4527877"/>
            <a:ext cx="252000" cy="216000"/>
          </a:xfrm>
          <a:prstGeom prst="ellipse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786681" y="5533790"/>
            <a:ext cx="252000" cy="216000"/>
          </a:xfrm>
          <a:prstGeom prst="ellipse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81" name="Rectangle 80"/>
          <p:cNvSpPr/>
          <p:nvPr/>
        </p:nvSpPr>
        <p:spPr>
          <a:xfrm>
            <a:off x="1794460" y="5709369"/>
            <a:ext cx="4567704" cy="875682"/>
          </a:xfrm>
          <a:prstGeom prst="rect">
            <a:avLst/>
          </a:prstGeom>
          <a:noFill/>
          <a:ln w="9525">
            <a:noFill/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0" bIns="0" rtlCol="0" anchor="ctr" anchorCtr="0"/>
          <a:lstStyle/>
          <a:p>
            <a:pPr lvl="0">
              <a:buClr>
                <a:srgbClr val="000000"/>
              </a:buClr>
              <a:buSzPct val="100000"/>
            </a:pPr>
            <a:r>
              <a:rPr lang="es-CO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ig Data y </a:t>
            </a:r>
            <a:r>
              <a:rPr lang="es-CO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tics</a:t>
            </a:r>
          </a:p>
          <a:p>
            <a:pPr lvl="0">
              <a:buClr>
                <a:srgbClr val="000000"/>
              </a:buClr>
              <a:buSzPct val="100000"/>
            </a:pPr>
            <a:r>
              <a:rPr lang="es-CO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cesamiento de grandes grupos de información estructurada y no-estructurada y </a:t>
            </a:r>
            <a:r>
              <a:rPr lang="es-CO" sz="11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tics</a:t>
            </a:r>
            <a:r>
              <a:rPr lang="es-CO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vanzados para encontrar </a:t>
            </a:r>
            <a:r>
              <a:rPr lang="es-CO" sz="11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sights</a:t>
            </a:r>
            <a:r>
              <a:rPr lang="es-CO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y habilitar la toma de decisiones en tiempo real </a:t>
            </a:r>
          </a:p>
        </p:txBody>
      </p:sp>
      <p:pic>
        <p:nvPicPr>
          <p:cNvPr id="84" name="Picture 3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43924" y="5709369"/>
            <a:ext cx="867014" cy="875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" name="Rectangle 102"/>
          <p:cNvSpPr/>
          <p:nvPr/>
        </p:nvSpPr>
        <p:spPr>
          <a:xfrm>
            <a:off x="178081" y="2511706"/>
            <a:ext cx="504499" cy="4159549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0000" bIns="90000" rtlCol="0" anchor="ctr" anchorCtr="0"/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acidades tecnológicas digitales…</a:t>
            </a:r>
          </a:p>
        </p:txBody>
      </p:sp>
      <p:sp>
        <p:nvSpPr>
          <p:cNvPr id="42" name="Rectángulo 41"/>
          <p:cNvSpPr/>
          <p:nvPr/>
        </p:nvSpPr>
        <p:spPr>
          <a:xfrm>
            <a:off x="0" y="0"/>
            <a:ext cx="12192000" cy="9256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>
            <a:outerShdw dist="25400" dir="5400000" algn="ctr" rotWithShape="0">
              <a:schemeClr val="accent2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2400" dirty="0">
              <a:solidFill>
                <a:schemeClr val="tx1"/>
              </a:solidFill>
            </a:endParaRPr>
          </a:p>
          <a:p>
            <a:r>
              <a:rPr lang="es-ES" sz="2400" b="1" dirty="0">
                <a:solidFill>
                  <a:schemeClr val="tx1"/>
                </a:solidFill>
              </a:rPr>
              <a:t>Nuestra perspectiva de la revolución digital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41669" y="1030310"/>
            <a:ext cx="64394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/>
              <a:t>La transformación digital está revolucionando las expectativas de los consumidores alrededor del mundo en todas las industrias…</a:t>
            </a:r>
          </a:p>
          <a:p>
            <a:r>
              <a:rPr lang="es-ES" sz="1600" dirty="0"/>
              <a:t>- </a:t>
            </a:r>
            <a:r>
              <a:rPr lang="es-ES" sz="1600" i="1" dirty="0"/>
              <a:t>Esta tendencia es aún mayor en los segmentos más jóvenes como </a:t>
            </a:r>
            <a:r>
              <a:rPr lang="es-ES" sz="1600" i="1" dirty="0" err="1"/>
              <a:t>Millenials</a:t>
            </a:r>
            <a:r>
              <a:rPr lang="es-ES" sz="1600" i="1" dirty="0"/>
              <a:t> y Gen-Z con un profundo impacto para todos los jugadores en todos los mercados</a:t>
            </a:r>
            <a:endParaRPr lang="es-CO" sz="1600" i="1" dirty="0"/>
          </a:p>
        </p:txBody>
      </p:sp>
      <p:sp>
        <p:nvSpPr>
          <p:cNvPr id="43" name="Rectangle 102"/>
          <p:cNvSpPr/>
          <p:nvPr/>
        </p:nvSpPr>
        <p:spPr>
          <a:xfrm>
            <a:off x="6550977" y="2534856"/>
            <a:ext cx="504499" cy="419864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0000" bIns="90000" rtlCol="0" anchor="ctr" anchorCtr="0"/>
          <a:lstStyle/>
          <a:p>
            <a:pPr algn="ctr"/>
            <a:r>
              <a:rPr lang="es-E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acidades metodológicas digitales…</a:t>
            </a:r>
            <a:endParaRPr lang="es-CO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CuadroTexto 44"/>
          <p:cNvSpPr txBox="1"/>
          <p:nvPr/>
        </p:nvSpPr>
        <p:spPr>
          <a:xfrm>
            <a:off x="6426566" y="1010233"/>
            <a:ext cx="588779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/>
              <a:t>Para satisfacer estas expectativas son requeridas nuevas capacidades metodológicas para conocer y satisfacer el consumidor digital…</a:t>
            </a:r>
          </a:p>
          <a:p>
            <a:r>
              <a:rPr lang="es-ES" sz="1600" i="1" dirty="0"/>
              <a:t>- Estás metodologías son las que realmente permiten cerrar las brechas de experiencia  </a:t>
            </a:r>
            <a:endParaRPr lang="es-CO" sz="1600" i="1" dirty="0"/>
          </a:p>
        </p:txBody>
      </p:sp>
      <p:sp>
        <p:nvSpPr>
          <p:cNvPr id="5" name="Elipse 4"/>
          <p:cNvSpPr/>
          <p:nvPr/>
        </p:nvSpPr>
        <p:spPr>
          <a:xfrm>
            <a:off x="7237274" y="2320640"/>
            <a:ext cx="1440000" cy="1440000"/>
          </a:xfrm>
          <a:prstGeom prst="ellipse">
            <a:avLst/>
          </a:prstGeom>
          <a:solidFill>
            <a:srgbClr val="FF000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 err="1"/>
              <a:t>Design</a:t>
            </a:r>
            <a:r>
              <a:rPr lang="es-ES" sz="1200" dirty="0"/>
              <a:t> </a:t>
            </a:r>
            <a:r>
              <a:rPr lang="es-ES" sz="1200" dirty="0" err="1"/>
              <a:t>Thinking</a:t>
            </a:r>
            <a:endParaRPr lang="es-CO" sz="1200" dirty="0"/>
          </a:p>
        </p:txBody>
      </p:sp>
      <p:sp>
        <p:nvSpPr>
          <p:cNvPr id="46" name="Elipse 45"/>
          <p:cNvSpPr/>
          <p:nvPr/>
        </p:nvSpPr>
        <p:spPr>
          <a:xfrm>
            <a:off x="7219804" y="3830541"/>
            <a:ext cx="1440000" cy="1440000"/>
          </a:xfrm>
          <a:prstGeom prst="ellipse">
            <a:avLst/>
          </a:prstGeom>
          <a:solidFill>
            <a:srgbClr val="FF000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Antropología</a:t>
            </a:r>
            <a:endParaRPr lang="es-CO" sz="1200" dirty="0"/>
          </a:p>
        </p:txBody>
      </p:sp>
      <p:sp>
        <p:nvSpPr>
          <p:cNvPr id="47" name="Elipse 46"/>
          <p:cNvSpPr/>
          <p:nvPr/>
        </p:nvSpPr>
        <p:spPr>
          <a:xfrm>
            <a:off x="9554696" y="4222700"/>
            <a:ext cx="1440000" cy="1440000"/>
          </a:xfrm>
          <a:prstGeom prst="ellipse">
            <a:avLst/>
          </a:prstGeom>
          <a:solidFill>
            <a:srgbClr val="FF000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Usabilidad y experiencia</a:t>
            </a:r>
            <a:endParaRPr lang="es-CO" sz="1200" dirty="0"/>
          </a:p>
        </p:txBody>
      </p:sp>
      <p:sp>
        <p:nvSpPr>
          <p:cNvPr id="48" name="Elipse 47"/>
          <p:cNvSpPr/>
          <p:nvPr/>
        </p:nvSpPr>
        <p:spPr>
          <a:xfrm>
            <a:off x="10666847" y="3122937"/>
            <a:ext cx="1440000" cy="1440000"/>
          </a:xfrm>
          <a:prstGeom prst="ellipse">
            <a:avLst/>
          </a:prstGeom>
          <a:solidFill>
            <a:srgbClr val="FF000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 err="1"/>
              <a:t>Engagement</a:t>
            </a:r>
            <a:endParaRPr lang="es-CO" sz="1200" dirty="0"/>
          </a:p>
        </p:txBody>
      </p:sp>
      <p:sp>
        <p:nvSpPr>
          <p:cNvPr id="25" name="Elipse 24"/>
          <p:cNvSpPr/>
          <p:nvPr/>
        </p:nvSpPr>
        <p:spPr>
          <a:xfrm>
            <a:off x="9490564" y="2105619"/>
            <a:ext cx="1440000" cy="1440000"/>
          </a:xfrm>
          <a:prstGeom prst="ellipse">
            <a:avLst/>
          </a:prstGeom>
          <a:solidFill>
            <a:srgbClr val="FF000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Arquitectura Digital Empresarial</a:t>
            </a:r>
            <a:endParaRPr lang="es-CO" sz="1200" dirty="0"/>
          </a:p>
        </p:txBody>
      </p:sp>
      <p:sp>
        <p:nvSpPr>
          <p:cNvPr id="2" name="Cheurón 1"/>
          <p:cNvSpPr/>
          <p:nvPr/>
        </p:nvSpPr>
        <p:spPr>
          <a:xfrm>
            <a:off x="8895899" y="2501822"/>
            <a:ext cx="474562" cy="4097438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10654949" y="5334105"/>
            <a:ext cx="1440000" cy="1440000"/>
          </a:xfrm>
          <a:prstGeom prst="ellipse">
            <a:avLst/>
          </a:prstGeom>
          <a:solidFill>
            <a:srgbClr val="FF000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Agile + Lean</a:t>
            </a: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3276258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4" grpId="0" animBg="1"/>
      <p:bldP spid="69" grpId="0"/>
      <p:bldP spid="70" grpId="0"/>
      <p:bldP spid="77" grpId="0" animBg="1"/>
      <p:bldP spid="78" grpId="0" animBg="1"/>
      <p:bldP spid="79" grpId="0" animBg="1"/>
      <p:bldP spid="81" grpId="0"/>
      <p:bldP spid="103" grpId="0" animBg="1"/>
      <p:bldP spid="4" grpId="0"/>
      <p:bldP spid="43" grpId="0" animBg="1"/>
      <p:bldP spid="45" grpId="0"/>
      <p:bldP spid="5" grpId="0" animBg="1"/>
      <p:bldP spid="46" grpId="0" animBg="1"/>
      <p:bldP spid="47" grpId="0" animBg="1"/>
      <p:bldP spid="48" grpId="0" animBg="1"/>
      <p:bldP spid="25" grpId="0" animBg="1"/>
      <p:bldP spid="2" grpId="0" animBg="1"/>
      <p:bldP spid="2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85F2C5D7-1AAE-386C-DFDD-0867E259159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Creando Val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84413B6-E8C2-2DDA-903F-1CF8EB8E6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Prototipad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1886DBE-FE3D-FDCB-42BA-BE3C77BA87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156" y="1065099"/>
            <a:ext cx="7894750" cy="5792901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E58AF862-37DA-639E-53E9-3DB14A254ED6}"/>
              </a:ext>
            </a:extLst>
          </p:cNvPr>
          <p:cNvSpPr txBox="1"/>
          <p:nvPr/>
        </p:nvSpPr>
        <p:spPr>
          <a:xfrm>
            <a:off x="8435662" y="1378039"/>
            <a:ext cx="307805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MX" sz="2800" dirty="0"/>
              <a:t>Pinten individualmente un flujo para el subproceso –10 minutos-</a:t>
            </a:r>
          </a:p>
          <a:p>
            <a:pPr marL="342900" indent="-342900">
              <a:buAutoNum type="arabicPeriod"/>
            </a:pPr>
            <a:r>
              <a:rPr lang="es-MX" sz="2800" dirty="0" err="1"/>
              <a:t>Compartanlo</a:t>
            </a:r>
            <a:r>
              <a:rPr lang="es-MX" sz="2800" dirty="0"/>
              <a:t> en el grupo – 10 minutos-</a:t>
            </a:r>
          </a:p>
        </p:txBody>
      </p:sp>
    </p:spTree>
    <p:extLst>
      <p:ext uri="{BB962C8B-B14F-4D97-AF65-F5344CB8AC3E}">
        <p14:creationId xmlns:p14="http://schemas.microsoft.com/office/powerpoint/2010/main" val="7684048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85F2C5D7-1AAE-386C-DFDD-0867E259159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Creando Val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84413B6-E8C2-2DDA-903F-1CF8EB8E6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Prototipado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5564AA4-B4A5-21A4-B98C-6684D71AF27D}"/>
              </a:ext>
            </a:extLst>
          </p:cNvPr>
          <p:cNvSpPr txBox="1"/>
          <p:nvPr/>
        </p:nvSpPr>
        <p:spPr>
          <a:xfrm>
            <a:off x="8435662" y="1378039"/>
            <a:ext cx="30780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MX" sz="2800" dirty="0"/>
              <a:t>Levanten un flujo con lo mejor de cada uno de los flujos anterior</a:t>
            </a:r>
          </a:p>
          <a:p>
            <a:pPr marL="342900" indent="-342900">
              <a:buAutoNum type="arabicPeriod"/>
            </a:pPr>
            <a:r>
              <a:rPr lang="es-MX" sz="2800" dirty="0"/>
              <a:t>Describan el comportamiento que debe seguir el usuario en cada pantalla</a:t>
            </a:r>
            <a:endParaRPr lang="es-CO" sz="2800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76D534A-9BAF-9A5E-A199-A364557C8E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961" y="1138640"/>
            <a:ext cx="7958607" cy="5249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1882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85F2C5D7-1AAE-386C-DFDD-0867E259159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Creando Val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84413B6-E8C2-2DDA-903F-1CF8EB8E6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Prototipad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C6ED59B-B78C-B72C-68FC-DE603CF46A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955" y="1184721"/>
            <a:ext cx="11730088" cy="472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2322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0BC6930-514C-3760-1E88-6108F5B3C2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0725" y="1328737"/>
            <a:ext cx="8210550" cy="4200525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21CFE8B2-160B-0162-ED9D-6F735EB5751E}"/>
              </a:ext>
            </a:extLst>
          </p:cNvPr>
          <p:cNvSpPr/>
          <p:nvPr/>
        </p:nvSpPr>
        <p:spPr>
          <a:xfrm>
            <a:off x="-1" y="1"/>
            <a:ext cx="12192001" cy="92846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dist="38100" dir="5400000" algn="ctr" rotWithShape="0">
              <a:srgbClr val="FF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O" sz="2800" dirty="0">
              <a:solidFill>
                <a:srgbClr val="177B57"/>
              </a:solidFill>
            </a:endParaRPr>
          </a:p>
          <a:p>
            <a:pPr marL="457200" lvl="2" defTabSz="457200">
              <a:spcAft>
                <a:spcPts val="1200"/>
              </a:spcAft>
            </a:pPr>
            <a:r>
              <a:rPr lang="es-ES" sz="2800" dirty="0">
                <a:solidFill>
                  <a:srgbClr val="177B57"/>
                </a:solidFill>
              </a:rPr>
              <a:t>Canales Vs funciones – trayectorias.</a:t>
            </a:r>
          </a:p>
        </p:txBody>
      </p:sp>
    </p:spTree>
    <p:extLst>
      <p:ext uri="{BB962C8B-B14F-4D97-AF65-F5344CB8AC3E}">
        <p14:creationId xmlns:p14="http://schemas.microsoft.com/office/powerpoint/2010/main" val="27727687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4231A947-2655-359E-7788-B35918227770}"/>
              </a:ext>
            </a:extLst>
          </p:cNvPr>
          <p:cNvSpPr/>
          <p:nvPr/>
        </p:nvSpPr>
        <p:spPr>
          <a:xfrm>
            <a:off x="-1" y="1"/>
            <a:ext cx="12192001" cy="92846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dist="38100" dir="5400000" algn="ctr" rotWithShape="0">
              <a:srgbClr val="FF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O" sz="2800" dirty="0">
              <a:solidFill>
                <a:srgbClr val="177B57"/>
              </a:solidFill>
            </a:endParaRPr>
          </a:p>
          <a:p>
            <a:pPr marL="457200" lvl="2" defTabSz="457200">
              <a:spcAft>
                <a:spcPts val="1200"/>
              </a:spcAft>
            </a:pPr>
            <a:r>
              <a:rPr lang="es-ES" sz="2800" dirty="0">
                <a:solidFill>
                  <a:srgbClr val="177B57"/>
                </a:solidFill>
              </a:rPr>
              <a:t>Golden </a:t>
            </a:r>
            <a:r>
              <a:rPr lang="es-ES" sz="2800" dirty="0" err="1">
                <a:solidFill>
                  <a:srgbClr val="177B57"/>
                </a:solidFill>
              </a:rPr>
              <a:t>circle</a:t>
            </a:r>
            <a:endParaRPr lang="es-ES" sz="2800" dirty="0">
              <a:solidFill>
                <a:srgbClr val="177B57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1CCDF44-D6C9-DFD3-68EF-2B88C6F31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1018" y="1449412"/>
            <a:ext cx="8504256" cy="458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4763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8D201F73-E376-7887-7F4C-EDD793C074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Modelo de negocio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52E1D53-B4F0-2525-8A18-1070D38F2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Conecting</a:t>
            </a:r>
            <a:r>
              <a:rPr lang="es-CO" dirty="0"/>
              <a:t> </a:t>
            </a:r>
            <a:r>
              <a:rPr lang="es-CO" dirty="0" err="1"/>
              <a:t>the</a:t>
            </a:r>
            <a:r>
              <a:rPr lang="es-CO" dirty="0"/>
              <a:t> </a:t>
            </a:r>
            <a:r>
              <a:rPr lang="es-CO" dirty="0" err="1"/>
              <a:t>Dots</a:t>
            </a:r>
            <a:endParaRPr lang="es-CO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8615D0B3-FCF2-4FBB-4AE7-9E9AF85B5E7E}"/>
              </a:ext>
            </a:extLst>
          </p:cNvPr>
          <p:cNvSpPr/>
          <p:nvPr/>
        </p:nvSpPr>
        <p:spPr>
          <a:xfrm>
            <a:off x="700238" y="1304764"/>
            <a:ext cx="10873208" cy="504056"/>
          </a:xfrm>
          <a:prstGeom prst="rect">
            <a:avLst/>
          </a:prstGeom>
          <a:solidFill>
            <a:srgbClr val="0070C0"/>
          </a:solidFill>
          <a:ln w="57150">
            <a:solidFill>
              <a:srgbClr val="00B0F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Modelo de negocio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D994E010-699F-3E8B-7066-537B3F0F42BF}"/>
              </a:ext>
            </a:extLst>
          </p:cNvPr>
          <p:cNvSpPr/>
          <p:nvPr/>
        </p:nvSpPr>
        <p:spPr>
          <a:xfrm>
            <a:off x="618555" y="2317148"/>
            <a:ext cx="3429442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rear Valor  de negocio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24391C38-5E6C-9F28-F6DD-E508356DC28A}"/>
              </a:ext>
            </a:extLst>
          </p:cNvPr>
          <p:cNvSpPr/>
          <p:nvPr/>
        </p:nvSpPr>
        <p:spPr>
          <a:xfrm>
            <a:off x="8549109" y="2317148"/>
            <a:ext cx="2994831" cy="504056"/>
          </a:xfrm>
          <a:prstGeom prst="rect">
            <a:avLst/>
          </a:prstGeom>
          <a:solidFill>
            <a:srgbClr val="FF0000"/>
          </a:solidFill>
          <a:ln w="571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apturar Valor de Negocio</a:t>
            </a:r>
          </a:p>
          <a:p>
            <a:pPr algn="ctr">
              <a:lnSpc>
                <a:spcPct val="90000"/>
              </a:lnSpc>
            </a:pPr>
            <a:r>
              <a:rPr lang="es-CO" dirty="0"/>
              <a:t>(Ecuación Económica)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AFE2C09F-C7E5-3909-CE6B-0964A30881A0}"/>
              </a:ext>
            </a:extLst>
          </p:cNvPr>
          <p:cNvSpPr/>
          <p:nvPr/>
        </p:nvSpPr>
        <p:spPr>
          <a:xfrm>
            <a:off x="4588670" y="2317148"/>
            <a:ext cx="3600400" cy="504056"/>
          </a:xfrm>
          <a:prstGeom prst="rect">
            <a:avLst/>
          </a:prstGeom>
          <a:solidFill>
            <a:srgbClr val="FFC000"/>
          </a:solidFill>
          <a:ln w="57150">
            <a:solidFill>
              <a:srgbClr val="FFFF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Entregar Valor de negocio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A133F3F1-A9B1-4BA8-4B22-C6C1946C23E9}"/>
              </a:ext>
            </a:extLst>
          </p:cNvPr>
          <p:cNvSpPr/>
          <p:nvPr/>
        </p:nvSpPr>
        <p:spPr>
          <a:xfrm>
            <a:off x="645446" y="4217128"/>
            <a:ext cx="1476164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 err="1"/>
              <a:t>Story</a:t>
            </a:r>
            <a:r>
              <a:rPr lang="es-CO" dirty="0"/>
              <a:t> </a:t>
            </a:r>
            <a:r>
              <a:rPr lang="es-CO" dirty="0" err="1"/>
              <a:t>Telling</a:t>
            </a:r>
            <a:endParaRPr lang="es-CO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848C1D85-602C-732D-64E7-F94C3939AE0B}"/>
              </a:ext>
            </a:extLst>
          </p:cNvPr>
          <p:cNvSpPr/>
          <p:nvPr/>
        </p:nvSpPr>
        <p:spPr>
          <a:xfrm>
            <a:off x="2337634" y="4217128"/>
            <a:ext cx="1737254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Use Cas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583C33-B65F-0801-5744-4458394B2CCE}"/>
              </a:ext>
            </a:extLst>
          </p:cNvPr>
          <p:cNvSpPr/>
          <p:nvPr/>
        </p:nvSpPr>
        <p:spPr>
          <a:xfrm>
            <a:off x="4588670" y="3392996"/>
            <a:ext cx="3456384" cy="504056"/>
          </a:xfrm>
          <a:prstGeom prst="rect">
            <a:avLst/>
          </a:prstGeom>
          <a:solidFill>
            <a:srgbClr val="FFC000"/>
          </a:solidFill>
          <a:ln w="57150">
            <a:solidFill>
              <a:srgbClr val="FFFF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apacidades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F515BD64-021E-0E6A-37BA-ED27C8D0289C}"/>
              </a:ext>
            </a:extLst>
          </p:cNvPr>
          <p:cNvSpPr/>
          <p:nvPr/>
        </p:nvSpPr>
        <p:spPr>
          <a:xfrm>
            <a:off x="4588670" y="4217128"/>
            <a:ext cx="1574081" cy="504056"/>
          </a:xfrm>
          <a:prstGeom prst="rect">
            <a:avLst/>
          </a:prstGeom>
          <a:solidFill>
            <a:srgbClr val="FFC000"/>
          </a:solidFill>
          <a:ln w="57150">
            <a:solidFill>
              <a:srgbClr val="FFFF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Metodológicas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F065CD44-9BF5-1D67-0372-45314BBC6495}"/>
              </a:ext>
            </a:extLst>
          </p:cNvPr>
          <p:cNvSpPr/>
          <p:nvPr/>
        </p:nvSpPr>
        <p:spPr>
          <a:xfrm>
            <a:off x="8522612" y="3336811"/>
            <a:ext cx="3021328" cy="504056"/>
          </a:xfrm>
          <a:prstGeom prst="rect">
            <a:avLst/>
          </a:prstGeom>
          <a:solidFill>
            <a:srgbClr val="FF0000"/>
          </a:solidFill>
          <a:ln w="571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Modelos de monetización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AE272710-E212-310B-994D-141B894DF44B}"/>
              </a:ext>
            </a:extLst>
          </p:cNvPr>
          <p:cNvSpPr/>
          <p:nvPr/>
        </p:nvSpPr>
        <p:spPr>
          <a:xfrm>
            <a:off x="8522437" y="4219345"/>
            <a:ext cx="1286200" cy="504056"/>
          </a:xfrm>
          <a:prstGeom prst="rect">
            <a:avLst/>
          </a:prstGeom>
          <a:solidFill>
            <a:srgbClr val="FF0000"/>
          </a:solidFill>
          <a:ln w="571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Ingresos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2AB6CCCB-5FFF-919C-303F-846F0DE3B869}"/>
              </a:ext>
            </a:extLst>
          </p:cNvPr>
          <p:cNvSpPr/>
          <p:nvPr/>
        </p:nvSpPr>
        <p:spPr>
          <a:xfrm>
            <a:off x="10338075" y="4219345"/>
            <a:ext cx="1235371" cy="504056"/>
          </a:xfrm>
          <a:prstGeom prst="rect">
            <a:avLst/>
          </a:prstGeom>
          <a:solidFill>
            <a:srgbClr val="FF0000"/>
          </a:solidFill>
          <a:ln w="571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ostos</a:t>
            </a:r>
          </a:p>
        </p:txBody>
      </p:sp>
      <p:sp>
        <p:nvSpPr>
          <p:cNvPr id="15" name="Rectangle 20">
            <a:extLst>
              <a:ext uri="{FF2B5EF4-FFF2-40B4-BE49-F238E27FC236}">
                <a16:creationId xmlns:a16="http://schemas.microsoft.com/office/drawing/2014/main" id="{F2F72D14-BA6B-227C-E02D-F460ADEDE5F2}"/>
              </a:ext>
            </a:extLst>
          </p:cNvPr>
          <p:cNvSpPr/>
          <p:nvPr/>
        </p:nvSpPr>
        <p:spPr>
          <a:xfrm>
            <a:off x="8535860" y="5049180"/>
            <a:ext cx="3021328" cy="504056"/>
          </a:xfrm>
          <a:prstGeom prst="rect">
            <a:avLst/>
          </a:prstGeom>
          <a:solidFill>
            <a:srgbClr val="FF0000"/>
          </a:solidFill>
          <a:ln w="57150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Caso de ne gocio</a:t>
            </a:r>
          </a:p>
        </p:txBody>
      </p:sp>
      <p:sp>
        <p:nvSpPr>
          <p:cNvPr id="16" name="Rectangle 21">
            <a:extLst>
              <a:ext uri="{FF2B5EF4-FFF2-40B4-BE49-F238E27FC236}">
                <a16:creationId xmlns:a16="http://schemas.microsoft.com/office/drawing/2014/main" id="{DE3C0223-A3B1-704E-B365-186177A1E6E7}"/>
              </a:ext>
            </a:extLst>
          </p:cNvPr>
          <p:cNvSpPr/>
          <p:nvPr/>
        </p:nvSpPr>
        <p:spPr>
          <a:xfrm>
            <a:off x="645446" y="3336811"/>
            <a:ext cx="3429442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Propuesta de valor</a:t>
            </a:r>
          </a:p>
        </p:txBody>
      </p:sp>
      <p:sp>
        <p:nvSpPr>
          <p:cNvPr id="17" name="Rectangle 22">
            <a:extLst>
              <a:ext uri="{FF2B5EF4-FFF2-40B4-BE49-F238E27FC236}">
                <a16:creationId xmlns:a16="http://schemas.microsoft.com/office/drawing/2014/main" id="{A6F3B243-C872-30C2-1CCA-84F73D10D9B9}"/>
              </a:ext>
            </a:extLst>
          </p:cNvPr>
          <p:cNvSpPr/>
          <p:nvPr/>
        </p:nvSpPr>
        <p:spPr>
          <a:xfrm>
            <a:off x="6316862" y="4217128"/>
            <a:ext cx="1574081" cy="504056"/>
          </a:xfrm>
          <a:prstGeom prst="rect">
            <a:avLst/>
          </a:prstGeom>
          <a:solidFill>
            <a:srgbClr val="FFC000"/>
          </a:solidFill>
          <a:ln w="57150">
            <a:solidFill>
              <a:srgbClr val="FFFF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Procesos</a:t>
            </a: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F665BE43-5979-82C8-4F04-EF81466A0567}"/>
              </a:ext>
            </a:extLst>
          </p:cNvPr>
          <p:cNvSpPr/>
          <p:nvPr/>
        </p:nvSpPr>
        <p:spPr>
          <a:xfrm>
            <a:off x="4562761" y="5049180"/>
            <a:ext cx="1574081" cy="504056"/>
          </a:xfrm>
          <a:prstGeom prst="rect">
            <a:avLst/>
          </a:prstGeom>
          <a:solidFill>
            <a:srgbClr val="FFC000"/>
          </a:solidFill>
          <a:ln w="57150">
            <a:solidFill>
              <a:srgbClr val="FFFF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Recursos </a:t>
            </a:r>
          </a:p>
        </p:txBody>
      </p:sp>
      <p:sp>
        <p:nvSpPr>
          <p:cNvPr id="19" name="Rectangle 24">
            <a:extLst>
              <a:ext uri="{FF2B5EF4-FFF2-40B4-BE49-F238E27FC236}">
                <a16:creationId xmlns:a16="http://schemas.microsoft.com/office/drawing/2014/main" id="{65ABE1C3-2C37-3177-BEB9-57C56F5C38B2}"/>
              </a:ext>
            </a:extLst>
          </p:cNvPr>
          <p:cNvSpPr/>
          <p:nvPr/>
        </p:nvSpPr>
        <p:spPr>
          <a:xfrm>
            <a:off x="6316862" y="5049180"/>
            <a:ext cx="1574081" cy="504056"/>
          </a:xfrm>
          <a:prstGeom prst="rect">
            <a:avLst/>
          </a:prstGeom>
          <a:solidFill>
            <a:srgbClr val="FFC000"/>
          </a:solidFill>
          <a:ln w="57150">
            <a:solidFill>
              <a:srgbClr val="FFFF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Digitales</a:t>
            </a:r>
          </a:p>
        </p:txBody>
      </p:sp>
      <p:cxnSp>
        <p:nvCxnSpPr>
          <p:cNvPr id="20" name="Straight Connector 26">
            <a:extLst>
              <a:ext uri="{FF2B5EF4-FFF2-40B4-BE49-F238E27FC236}">
                <a16:creationId xmlns:a16="http://schemas.microsoft.com/office/drawing/2014/main" id="{3BB5008D-26D6-B3CE-24F4-9BF7FAEB2DF6}"/>
              </a:ext>
            </a:extLst>
          </p:cNvPr>
          <p:cNvCxnSpPr/>
          <p:nvPr/>
        </p:nvCxnSpPr>
        <p:spPr>
          <a:xfrm>
            <a:off x="4264021" y="1952836"/>
            <a:ext cx="0" cy="4104456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8">
            <a:extLst>
              <a:ext uri="{FF2B5EF4-FFF2-40B4-BE49-F238E27FC236}">
                <a16:creationId xmlns:a16="http://schemas.microsoft.com/office/drawing/2014/main" id="{C9487968-B467-CE18-0F45-8B48222B3286}"/>
              </a:ext>
            </a:extLst>
          </p:cNvPr>
          <p:cNvCxnSpPr/>
          <p:nvPr/>
        </p:nvCxnSpPr>
        <p:spPr>
          <a:xfrm>
            <a:off x="8368477" y="1952836"/>
            <a:ext cx="0" cy="4104456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30">
            <a:extLst>
              <a:ext uri="{FF2B5EF4-FFF2-40B4-BE49-F238E27FC236}">
                <a16:creationId xmlns:a16="http://schemas.microsoft.com/office/drawing/2014/main" id="{D33937A6-1700-D1B4-A818-F64B6F39C142}"/>
              </a:ext>
            </a:extLst>
          </p:cNvPr>
          <p:cNvSpPr/>
          <p:nvPr/>
        </p:nvSpPr>
        <p:spPr>
          <a:xfrm>
            <a:off x="662586" y="5049180"/>
            <a:ext cx="1476164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Observación</a:t>
            </a:r>
          </a:p>
        </p:txBody>
      </p:sp>
      <p:sp>
        <p:nvSpPr>
          <p:cNvPr id="23" name="Rectangle 31">
            <a:extLst>
              <a:ext uri="{FF2B5EF4-FFF2-40B4-BE49-F238E27FC236}">
                <a16:creationId xmlns:a16="http://schemas.microsoft.com/office/drawing/2014/main" id="{D7CBEC5D-8F43-E99D-66B1-B20C25CB8354}"/>
              </a:ext>
            </a:extLst>
          </p:cNvPr>
          <p:cNvSpPr/>
          <p:nvPr/>
        </p:nvSpPr>
        <p:spPr>
          <a:xfrm>
            <a:off x="2354774" y="5049180"/>
            <a:ext cx="1720114" cy="504056"/>
          </a:xfrm>
          <a:prstGeom prst="rect">
            <a:avLst/>
          </a:prstGeom>
          <a:solidFill>
            <a:srgbClr val="00B050"/>
          </a:solidFill>
          <a:ln w="57150">
            <a:solidFill>
              <a:srgbClr val="99FF9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O" dirty="0"/>
              <a:t>Requerimientos</a:t>
            </a:r>
          </a:p>
        </p:txBody>
      </p:sp>
    </p:spTree>
    <p:extLst>
      <p:ext uri="{BB962C8B-B14F-4D97-AF65-F5344CB8AC3E}">
        <p14:creationId xmlns:p14="http://schemas.microsoft.com/office/powerpoint/2010/main" val="6544974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77DFD56D-8892-E423-340F-5EA7925FFA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practica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3A5C5BD-CBF5-6F24-4F29-221700F6E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Apis de Google </a:t>
            </a:r>
            <a:r>
              <a:rPr lang="es-CO" dirty="0" err="1"/>
              <a:t>extensions</a:t>
            </a:r>
            <a:endParaRPr lang="es-CO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A6B429E-10CB-A16B-7436-C02A5BA65342}"/>
              </a:ext>
            </a:extLst>
          </p:cNvPr>
          <p:cNvSpPr txBox="1"/>
          <p:nvPr/>
        </p:nvSpPr>
        <p:spPr>
          <a:xfrm>
            <a:off x="1804521" y="264471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dirty="0"/>
              <a:t>https://developer.chrome.com/docs/extensions/reference/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57CC63E-0EFA-3C61-2409-BA07C89CB444}"/>
              </a:ext>
            </a:extLst>
          </p:cNvPr>
          <p:cNvSpPr txBox="1"/>
          <p:nvPr/>
        </p:nvSpPr>
        <p:spPr>
          <a:xfrm>
            <a:off x="2118867" y="4394943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dirty="0"/>
              <a:t>https://github.com/GoogleChrome/chrome-extensions-samples/tree/main/api-samples</a:t>
            </a:r>
          </a:p>
        </p:txBody>
      </p:sp>
      <p:pic>
        <p:nvPicPr>
          <p:cNvPr id="9" name="Imagen 8" descr="Interfaz de usuario gráfica, Diagrama&#10;&#10;Descripción generada automáticamente">
            <a:extLst>
              <a:ext uri="{FF2B5EF4-FFF2-40B4-BE49-F238E27FC236}">
                <a16:creationId xmlns:a16="http://schemas.microsoft.com/office/drawing/2014/main" id="{1A2D0E39-A1A8-7CB1-C152-062EBEF55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458325" y="2002491"/>
            <a:ext cx="4478038" cy="3372563"/>
          </a:xfrm>
          <a:prstGeom prst="rect">
            <a:avLst/>
          </a:prstGeom>
        </p:spPr>
      </p:pic>
      <p:pic>
        <p:nvPicPr>
          <p:cNvPr id="12" name="Imagen 11" descr="Icono&#10;&#10;Descripción generada automáticamente">
            <a:extLst>
              <a:ext uri="{FF2B5EF4-FFF2-40B4-BE49-F238E27FC236}">
                <a16:creationId xmlns:a16="http://schemas.microsoft.com/office/drawing/2014/main" id="{8CC3D4C9-C281-E887-A07F-6A78FCACE1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29547" y="3881969"/>
            <a:ext cx="1534447" cy="1534447"/>
          </a:xfrm>
          <a:prstGeom prst="rect">
            <a:avLst/>
          </a:prstGeom>
        </p:spPr>
      </p:pic>
      <p:pic>
        <p:nvPicPr>
          <p:cNvPr id="15" name="Imagen 14" descr="Interfaz de usuario gráfica, Texto, Aplicación, Correo electrónico, Sitio web&#10;&#10;Descripción generada automáticamente">
            <a:extLst>
              <a:ext uri="{FF2B5EF4-FFF2-40B4-BE49-F238E27FC236}">
                <a16:creationId xmlns:a16="http://schemas.microsoft.com/office/drawing/2014/main" id="{BDE770F1-BD02-F73A-DCCB-14F0F350E0B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b="40206"/>
          <a:stretch/>
        </p:blipFill>
        <p:spPr>
          <a:xfrm>
            <a:off x="2016811" y="1288921"/>
            <a:ext cx="5229225" cy="141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54771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AF5DC34C-56E7-3252-7D12-02FEA98B7B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practica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AF8D729-D73C-639D-0217-815ED4187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Vamos a hacer nuestro primer Desarrollo</a:t>
            </a:r>
          </a:p>
        </p:txBody>
      </p:sp>
      <p:pic>
        <p:nvPicPr>
          <p:cNvPr id="5" name="Imagen 4" descr="Diagrama&#10;&#10;Descripción generada automáticamente">
            <a:extLst>
              <a:ext uri="{FF2B5EF4-FFF2-40B4-BE49-F238E27FC236}">
                <a16:creationId xmlns:a16="http://schemas.microsoft.com/office/drawing/2014/main" id="{9BAD45FF-4A34-A8DA-3A88-B983095DCA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85135" y="1170268"/>
            <a:ext cx="10353368" cy="4923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2942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AF5DC34C-56E7-3252-7D12-02FEA98B7B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practica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AF8D729-D73C-639D-0217-815ED4187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Vamos a hacer nuestro primer Desarrollo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C196221-94AE-D8AA-FF9B-A835F495D862}"/>
              </a:ext>
            </a:extLst>
          </p:cNvPr>
          <p:cNvSpPr txBox="1"/>
          <p:nvPr/>
        </p:nvSpPr>
        <p:spPr>
          <a:xfrm>
            <a:off x="1396180" y="6093296"/>
            <a:ext cx="81116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dirty="0">
                <a:hlinkClick r:id="rId2"/>
              </a:rPr>
              <a:t>https://eduarduartes.github.io/team.html</a:t>
            </a:r>
            <a:endParaRPr lang="es-CO" dirty="0"/>
          </a:p>
          <a:p>
            <a:endParaRPr lang="es-CO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9E5DEAD6-C71E-DF9B-ECF2-95CA8B6112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6180" y="764704"/>
            <a:ext cx="8573243" cy="54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5876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Tiene su banco una estrategia fintech? | ProcessMaker">
            <a:extLst>
              <a:ext uri="{FF2B5EF4-FFF2-40B4-BE49-F238E27FC236}">
                <a16:creationId xmlns:a16="http://schemas.microsoft.com/office/drawing/2014/main" id="{44D0C255-7A2C-B971-5140-7033C18B9B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2" b="8020"/>
          <a:stretch/>
        </p:blipFill>
        <p:spPr bwMode="auto">
          <a:xfrm>
            <a:off x="-152026" y="-16042"/>
            <a:ext cx="12528135" cy="7053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993AD91-4AA1-A8CA-31FF-834330466B10}"/>
              </a:ext>
            </a:extLst>
          </p:cNvPr>
          <p:cNvSpPr/>
          <p:nvPr/>
        </p:nvSpPr>
        <p:spPr>
          <a:xfrm>
            <a:off x="-117326" y="1623918"/>
            <a:ext cx="4352441" cy="3500802"/>
          </a:xfrm>
          <a:prstGeom prst="rect">
            <a:avLst/>
          </a:prstGeom>
          <a:solidFill>
            <a:srgbClr val="272920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8492750-E12D-4995-ABCB-5BB846060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7"/>
            <a:ext cx="3982196" cy="4601183"/>
          </a:xfrm>
        </p:spPr>
        <p:txBody>
          <a:bodyPr rtlCol="0">
            <a:normAutofit/>
          </a:bodyPr>
          <a:lstStyle/>
          <a:p>
            <a:pPr rtl="0"/>
            <a:r>
              <a:rPr lang="es-ES"/>
              <a:t>Muchas Gracias</a:t>
            </a:r>
          </a:p>
        </p:txBody>
      </p:sp>
    </p:spTree>
    <p:extLst>
      <p:ext uri="{BB962C8B-B14F-4D97-AF65-F5344CB8AC3E}">
        <p14:creationId xmlns:p14="http://schemas.microsoft.com/office/powerpoint/2010/main" val="877967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FB94A0A-4CEB-321F-C688-DB03BBC6FB70}"/>
              </a:ext>
            </a:extLst>
          </p:cNvPr>
          <p:cNvSpPr txBox="1"/>
          <p:nvPr/>
        </p:nvSpPr>
        <p:spPr>
          <a:xfrm>
            <a:off x="139521" y="744223"/>
            <a:ext cx="11912958" cy="74879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s-CO" sz="2133" dirty="0"/>
              <a:t>Crear ofertas digitales (Digital </a:t>
            </a:r>
            <a:r>
              <a:rPr lang="es-CO" sz="2133" dirty="0" err="1"/>
              <a:t>Offerings</a:t>
            </a:r>
            <a:r>
              <a:rPr lang="es-CO" sz="2133" dirty="0"/>
              <a:t>*) está basado en el uso de </a:t>
            </a:r>
            <a:r>
              <a:rPr lang="es-CO" sz="2133" b="1" dirty="0"/>
              <a:t>capacidades</a:t>
            </a:r>
            <a:r>
              <a:rPr lang="es-CO" sz="2133" dirty="0"/>
              <a:t> metodológicas y tecnológicas para generar ventaja competitiva en por medio de experiencias de cliente diferenciadas…</a:t>
            </a:r>
          </a:p>
        </p:txBody>
      </p:sp>
      <p:sp>
        <p:nvSpPr>
          <p:cNvPr id="5" name="AutoShape 12">
            <a:extLst>
              <a:ext uri="{FF2B5EF4-FFF2-40B4-BE49-F238E27FC236}">
                <a16:creationId xmlns:a16="http://schemas.microsoft.com/office/drawing/2014/main" id="{799CA153-2F5F-BE86-1F48-4ECAA9B186E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716734" y="2371005"/>
            <a:ext cx="1519407" cy="803275"/>
          </a:xfrm>
          <a:prstGeom prst="homePlate">
            <a:avLst>
              <a:gd name="adj" fmla="val 27722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0" rIns="0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CO" sz="1400" b="0" i="1" dirty="0">
                <a:solidFill>
                  <a:schemeClr val="tx1"/>
                </a:solidFill>
              </a:rPr>
              <a:t>Pensamiento de diseño (</a:t>
            </a:r>
            <a:r>
              <a:rPr lang="es-CO" sz="1400" b="0" i="1" dirty="0" err="1">
                <a:solidFill>
                  <a:schemeClr val="tx1"/>
                </a:solidFill>
              </a:rPr>
              <a:t>Design</a:t>
            </a:r>
            <a:r>
              <a:rPr lang="es-CO" sz="1400" b="0" i="1" dirty="0">
                <a:solidFill>
                  <a:schemeClr val="tx1"/>
                </a:solidFill>
              </a:rPr>
              <a:t> </a:t>
            </a:r>
            <a:r>
              <a:rPr lang="es-CO" sz="1400" b="0" i="1" dirty="0" err="1">
                <a:solidFill>
                  <a:schemeClr val="tx1"/>
                </a:solidFill>
              </a:rPr>
              <a:t>Thinking</a:t>
            </a:r>
            <a:r>
              <a:rPr lang="es-CO" sz="1400" b="0" i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6" name="AutoShape 12">
            <a:extLst>
              <a:ext uri="{FF2B5EF4-FFF2-40B4-BE49-F238E27FC236}">
                <a16:creationId xmlns:a16="http://schemas.microsoft.com/office/drawing/2014/main" id="{F71E62B8-69C9-839D-C9A1-B9EEF0E62B3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755369" y="4741958"/>
            <a:ext cx="1519407" cy="803275"/>
          </a:xfrm>
          <a:prstGeom prst="homePlate">
            <a:avLst>
              <a:gd name="adj" fmla="val 27722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0" rIns="0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CO" sz="1400" b="0" i="1" dirty="0">
                <a:solidFill>
                  <a:schemeClr val="tx1"/>
                </a:solidFill>
              </a:rPr>
              <a:t>Usabilidad y experiencia (UI/UX)</a:t>
            </a:r>
          </a:p>
        </p:txBody>
      </p:sp>
      <p:sp>
        <p:nvSpPr>
          <p:cNvPr id="7" name="AutoShape 12">
            <a:extLst>
              <a:ext uri="{FF2B5EF4-FFF2-40B4-BE49-F238E27FC236}">
                <a16:creationId xmlns:a16="http://schemas.microsoft.com/office/drawing/2014/main" id="{E3057FCE-E0F8-ECFE-1A37-CD209C281AA9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742491" y="3516367"/>
            <a:ext cx="1519403" cy="803275"/>
          </a:xfrm>
          <a:prstGeom prst="homePlate">
            <a:avLst>
              <a:gd name="adj" fmla="val 27722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0" rIns="0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CO" sz="1400" b="0" i="1" dirty="0">
                <a:solidFill>
                  <a:schemeClr val="tx1"/>
                </a:solidFill>
              </a:rPr>
              <a:t>Arquitectura Digital Empresarial</a:t>
            </a:r>
          </a:p>
        </p:txBody>
      </p:sp>
      <p:sp>
        <p:nvSpPr>
          <p:cNvPr id="8" name="31 CuadroTexto">
            <a:extLst>
              <a:ext uri="{FF2B5EF4-FFF2-40B4-BE49-F238E27FC236}">
                <a16:creationId xmlns:a16="http://schemas.microsoft.com/office/drawing/2014/main" id="{9B18124C-715A-5800-B518-D7A46BF0DC8D}"/>
              </a:ext>
            </a:extLst>
          </p:cNvPr>
          <p:cNvSpPr txBox="1"/>
          <p:nvPr/>
        </p:nvSpPr>
        <p:spPr>
          <a:xfrm>
            <a:off x="6252594" y="2319868"/>
            <a:ext cx="500612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6"/>
              </a:buClr>
            </a:pPr>
            <a:r>
              <a:rPr lang="es-CO" sz="1200" b="1" dirty="0"/>
              <a:t>Bancolombia</a:t>
            </a:r>
          </a:p>
          <a:p>
            <a:pPr>
              <a:spcAft>
                <a:spcPts val="600"/>
              </a:spcAft>
              <a:buClr>
                <a:schemeClr val="accent6"/>
              </a:buClr>
            </a:pPr>
            <a:r>
              <a:rPr lang="es-ES" sz="1200" dirty="0"/>
              <a:t>Aplica </a:t>
            </a:r>
            <a:r>
              <a:rPr lang="es-ES" sz="1200" dirty="0" err="1"/>
              <a:t>Design</a:t>
            </a:r>
            <a:r>
              <a:rPr lang="es-ES" sz="1200" dirty="0"/>
              <a:t> </a:t>
            </a:r>
            <a:r>
              <a:rPr lang="es-ES" sz="1200" dirty="0" err="1"/>
              <a:t>Thinking</a:t>
            </a:r>
            <a:r>
              <a:rPr lang="es-ES" sz="1200" dirty="0"/>
              <a:t> para crear experiencias diferenciadas y nuevos negocios digitales</a:t>
            </a:r>
            <a:endParaRPr lang="es-CO" sz="1200" dirty="0"/>
          </a:p>
        </p:txBody>
      </p:sp>
      <p:sp>
        <p:nvSpPr>
          <p:cNvPr id="9" name="ColumnHeader">
            <a:extLst>
              <a:ext uri="{FF2B5EF4-FFF2-40B4-BE49-F238E27FC236}">
                <a16:creationId xmlns:a16="http://schemas.microsoft.com/office/drawing/2014/main" id="{137B2E7D-8760-E24F-544F-EC4F38A3D4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735" y="1700329"/>
            <a:ext cx="1519407" cy="49244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3">
                <a:lumMod val="50000"/>
              </a:schemeClr>
            </a:outerShdw>
          </a:effectLst>
        </p:spPr>
        <p:txBody>
          <a:bodyPr wrap="square" tIns="121920" bIns="121920" anchor="b">
            <a:spAutoFit/>
          </a:bodyPr>
          <a:lstStyle/>
          <a:p>
            <a:pPr algn="ctr"/>
            <a:r>
              <a:rPr lang="es-CO" sz="1600" b="1" dirty="0">
                <a:latin typeface="Arial" pitchFamily="34" charset="0"/>
                <a:cs typeface="Arial" pitchFamily="34" charset="0"/>
              </a:rPr>
              <a:t>Capacidad</a:t>
            </a:r>
          </a:p>
        </p:txBody>
      </p:sp>
      <p:sp>
        <p:nvSpPr>
          <p:cNvPr id="10" name="ColumnHeader">
            <a:extLst>
              <a:ext uri="{FF2B5EF4-FFF2-40B4-BE49-F238E27FC236}">
                <a16:creationId xmlns:a16="http://schemas.microsoft.com/office/drawing/2014/main" id="{8829FBC7-D5AC-C126-261C-3F48D60D00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35578" y="1700329"/>
            <a:ext cx="3380743" cy="49244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3">
                <a:lumMod val="50000"/>
              </a:schemeClr>
            </a:outerShdw>
          </a:effectLst>
        </p:spPr>
        <p:txBody>
          <a:bodyPr wrap="square" tIns="121920" bIns="121920" anchor="b">
            <a:spAutoFit/>
          </a:bodyPr>
          <a:lstStyle/>
          <a:p>
            <a:pPr algn="ctr"/>
            <a:r>
              <a:rPr lang="es-CO" sz="1600" b="1" dirty="0">
                <a:latin typeface="Arial" pitchFamily="34" charset="0"/>
                <a:cs typeface="Arial" pitchFamily="34" charset="0"/>
              </a:rPr>
              <a:t>Significado</a:t>
            </a:r>
          </a:p>
        </p:txBody>
      </p:sp>
      <p:sp>
        <p:nvSpPr>
          <p:cNvPr id="11" name="ColumnHeader">
            <a:extLst>
              <a:ext uri="{FF2B5EF4-FFF2-40B4-BE49-F238E27FC236}">
                <a16:creationId xmlns:a16="http://schemas.microsoft.com/office/drawing/2014/main" id="{1C17A98C-7781-230A-ADAA-E8320452AE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52594" y="1700329"/>
            <a:ext cx="5006123" cy="49244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3">
                <a:lumMod val="50000"/>
              </a:schemeClr>
            </a:outerShdw>
          </a:effectLst>
        </p:spPr>
        <p:txBody>
          <a:bodyPr wrap="square" tIns="121920" bIns="121920" anchor="b">
            <a:spAutoFit/>
          </a:bodyPr>
          <a:lstStyle/>
          <a:p>
            <a:pPr algn="ctr"/>
            <a:r>
              <a:rPr lang="es-CO" sz="1600" b="1" dirty="0">
                <a:latin typeface="Arial" pitchFamily="34" charset="0"/>
                <a:cs typeface="Arial" pitchFamily="34" charset="0"/>
              </a:rPr>
              <a:t>Ejemplos de aplicación</a:t>
            </a:r>
          </a:p>
        </p:txBody>
      </p:sp>
      <p:sp>
        <p:nvSpPr>
          <p:cNvPr id="12" name="31 CuadroTexto">
            <a:extLst>
              <a:ext uri="{FF2B5EF4-FFF2-40B4-BE49-F238E27FC236}">
                <a16:creationId xmlns:a16="http://schemas.microsoft.com/office/drawing/2014/main" id="{A5845EB8-63F3-C65C-7536-0C2D0CCD32F0}"/>
              </a:ext>
            </a:extLst>
          </p:cNvPr>
          <p:cNvSpPr txBox="1"/>
          <p:nvPr/>
        </p:nvSpPr>
        <p:spPr>
          <a:xfrm>
            <a:off x="2635578" y="2371007"/>
            <a:ext cx="3380743" cy="803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accent6"/>
              </a:buClr>
            </a:pPr>
            <a:r>
              <a:rPr lang="es-CO" sz="1200" dirty="0"/>
              <a:t>Productos diseñados a partir del </a:t>
            </a:r>
            <a:r>
              <a:rPr lang="es-CO" sz="1200" b="1" dirty="0">
                <a:solidFill>
                  <a:schemeClr val="accent6"/>
                </a:solidFill>
              </a:rPr>
              <a:t>profundo conocimiento del clientes, su contexto y objetivos. – </a:t>
            </a:r>
            <a:r>
              <a:rPr lang="es-CO" sz="1200" dirty="0"/>
              <a:t>Es allí donde surgen las oportunidades reales de innovación</a:t>
            </a:r>
          </a:p>
        </p:txBody>
      </p:sp>
      <p:sp>
        <p:nvSpPr>
          <p:cNvPr id="13" name="31 CuadroTexto">
            <a:extLst>
              <a:ext uri="{FF2B5EF4-FFF2-40B4-BE49-F238E27FC236}">
                <a16:creationId xmlns:a16="http://schemas.microsoft.com/office/drawing/2014/main" id="{5318EFB1-B4D5-7FD9-1EC6-661ADE9B17FE}"/>
              </a:ext>
            </a:extLst>
          </p:cNvPr>
          <p:cNvSpPr txBox="1"/>
          <p:nvPr/>
        </p:nvSpPr>
        <p:spPr>
          <a:xfrm>
            <a:off x="2674215" y="4741958"/>
            <a:ext cx="3380743" cy="803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accent6"/>
              </a:buClr>
            </a:pPr>
            <a:r>
              <a:rPr lang="es-CO" sz="1200" dirty="0"/>
              <a:t>Las primeras </a:t>
            </a:r>
            <a:r>
              <a:rPr lang="es-CO" sz="1200" b="1" dirty="0">
                <a:solidFill>
                  <a:schemeClr val="accent6"/>
                </a:solidFill>
              </a:rPr>
              <a:t>interfaces son probadas con usuarios para lograr la mayor </a:t>
            </a:r>
            <a:r>
              <a:rPr lang="es-CO" sz="1200" b="1" dirty="0" err="1">
                <a:solidFill>
                  <a:schemeClr val="accent6"/>
                </a:solidFill>
              </a:rPr>
              <a:t>persuabilidad</a:t>
            </a:r>
            <a:r>
              <a:rPr lang="es-CO" sz="1200" dirty="0"/>
              <a:t>. – A partir de esto las mejoramos antes de hacerlas.</a:t>
            </a:r>
          </a:p>
        </p:txBody>
      </p:sp>
      <p:sp>
        <p:nvSpPr>
          <p:cNvPr id="14" name="31 CuadroTexto">
            <a:extLst>
              <a:ext uri="{FF2B5EF4-FFF2-40B4-BE49-F238E27FC236}">
                <a16:creationId xmlns:a16="http://schemas.microsoft.com/office/drawing/2014/main" id="{0487A2E8-1C9A-1DBF-05DE-056F26902139}"/>
              </a:ext>
            </a:extLst>
          </p:cNvPr>
          <p:cNvSpPr txBox="1"/>
          <p:nvPr/>
        </p:nvSpPr>
        <p:spPr>
          <a:xfrm>
            <a:off x="2661335" y="3516367"/>
            <a:ext cx="3380743" cy="803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s-ES"/>
            </a:defPPr>
            <a:lvl1pPr>
              <a:spcAft>
                <a:spcPts val="450"/>
              </a:spcAft>
              <a:buClr>
                <a:schemeClr val="accent6"/>
              </a:buClr>
              <a:defRPr sz="1000"/>
            </a:lvl1pPr>
          </a:lstStyle>
          <a:p>
            <a:r>
              <a:rPr lang="es-ES" sz="1200" dirty="0"/>
              <a:t>Capacidad organizacional para </a:t>
            </a:r>
            <a:r>
              <a:rPr lang="es-ES" sz="1200" b="1" dirty="0">
                <a:solidFill>
                  <a:schemeClr val="accent6"/>
                </a:solidFill>
              </a:rPr>
              <a:t>definir ofertas digitales centradas en el cliente</a:t>
            </a:r>
            <a:r>
              <a:rPr lang="es-ES" sz="1200" dirty="0"/>
              <a:t> y </a:t>
            </a:r>
            <a:r>
              <a:rPr lang="es-ES" sz="1200" b="1" dirty="0">
                <a:solidFill>
                  <a:schemeClr val="accent6"/>
                </a:solidFill>
              </a:rPr>
              <a:t>enriquecidas con tecnologías convergentes.</a:t>
            </a:r>
            <a:endParaRPr lang="es-CO" sz="1200" b="1" dirty="0">
              <a:solidFill>
                <a:schemeClr val="accent6"/>
              </a:solidFill>
            </a:endParaRPr>
          </a:p>
          <a:p>
            <a:endParaRPr lang="es-CO" sz="1200" dirty="0"/>
          </a:p>
        </p:txBody>
      </p:sp>
      <p:sp>
        <p:nvSpPr>
          <p:cNvPr id="15" name="31 CuadroTexto">
            <a:extLst>
              <a:ext uri="{FF2B5EF4-FFF2-40B4-BE49-F238E27FC236}">
                <a16:creationId xmlns:a16="http://schemas.microsoft.com/office/drawing/2014/main" id="{A802C6DB-CB76-7774-ACB1-7908BA1DBFF6}"/>
              </a:ext>
            </a:extLst>
          </p:cNvPr>
          <p:cNvSpPr txBox="1"/>
          <p:nvPr/>
        </p:nvSpPr>
        <p:spPr>
          <a:xfrm>
            <a:off x="6291231" y="4694506"/>
            <a:ext cx="5006123" cy="6181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ES"/>
            </a:defPPr>
            <a:lvl1pPr marL="135731" indent="-135731">
              <a:spcAft>
                <a:spcPts val="45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900"/>
            </a:lvl1pPr>
          </a:lstStyle>
          <a:p>
            <a:pPr marL="0" indent="0">
              <a:buNone/>
            </a:pPr>
            <a:r>
              <a:rPr lang="es-ES" sz="1200" b="1" dirty="0"/>
              <a:t>AVAL ADL</a:t>
            </a:r>
          </a:p>
          <a:p>
            <a:pPr marL="0" indent="0">
              <a:buNone/>
            </a:pPr>
            <a:r>
              <a:rPr lang="es-ES" sz="1200" dirty="0"/>
              <a:t>Aplica pruebas de usabilidad y experiencia con pensionados para evaluar el servicio de solicitud de pensión 100% digital</a:t>
            </a:r>
            <a:endParaRPr lang="es-CO" sz="1200" dirty="0"/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EA077091-2C1E-5ACF-DB3E-F3A38EBA5132}"/>
              </a:ext>
            </a:extLst>
          </p:cNvPr>
          <p:cNvCxnSpPr/>
          <p:nvPr/>
        </p:nvCxnSpPr>
        <p:spPr>
          <a:xfrm>
            <a:off x="708231" y="3362600"/>
            <a:ext cx="10481038" cy="16512"/>
          </a:xfrm>
          <a:prstGeom prst="line">
            <a:avLst/>
          </a:prstGeom>
          <a:ln w="6350">
            <a:solidFill>
              <a:schemeClr val="accent3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ángulo 16">
            <a:extLst>
              <a:ext uri="{FF2B5EF4-FFF2-40B4-BE49-F238E27FC236}">
                <a16:creationId xmlns:a16="http://schemas.microsoft.com/office/drawing/2014/main" id="{9AFC7292-8E23-EAC2-9480-BBC61B0045E0}"/>
              </a:ext>
            </a:extLst>
          </p:cNvPr>
          <p:cNvSpPr/>
          <p:nvPr/>
        </p:nvSpPr>
        <p:spPr>
          <a:xfrm>
            <a:off x="147022" y="5658704"/>
            <a:ext cx="11840900" cy="61408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/>
              <a:t>Una </a:t>
            </a:r>
            <a:r>
              <a:rPr lang="es-CO" sz="1600" i="1" dirty="0">
                <a:solidFill>
                  <a:schemeClr val="accent6"/>
                </a:solidFill>
              </a:rPr>
              <a:t>capacidad de negocio es una habilidad o saber hacer para poder llevar a cabo la intención estratégica, idealmente que genere ventaja competitiva</a:t>
            </a:r>
            <a:r>
              <a:rPr lang="es-CO" sz="1600" dirty="0"/>
              <a:t> y se compone de </a:t>
            </a:r>
            <a:r>
              <a:rPr lang="es-CO" sz="1600" i="1" dirty="0">
                <a:solidFill>
                  <a:schemeClr val="accent6"/>
                </a:solidFill>
              </a:rPr>
              <a:t>gente formada, que sigue unos procesos definidos y tiene los recursos para hacerlo. – Escuela Digital </a:t>
            </a:r>
            <a:r>
              <a:rPr lang="es-CO" sz="1600" i="1" dirty="0" err="1">
                <a:solidFill>
                  <a:schemeClr val="accent6"/>
                </a:solidFill>
              </a:rPr>
              <a:t>Uniandes</a:t>
            </a:r>
            <a:r>
              <a:rPr lang="es-CO" sz="1600" i="1" dirty="0">
                <a:solidFill>
                  <a:schemeClr val="accent6"/>
                </a:solidFill>
              </a:rPr>
              <a:t>.</a:t>
            </a:r>
          </a:p>
        </p:txBody>
      </p:sp>
      <p:sp>
        <p:nvSpPr>
          <p:cNvPr id="18" name="31 CuadroTexto">
            <a:extLst>
              <a:ext uri="{FF2B5EF4-FFF2-40B4-BE49-F238E27FC236}">
                <a16:creationId xmlns:a16="http://schemas.microsoft.com/office/drawing/2014/main" id="{6F7F8649-90D6-D55F-3B0C-3CD7FAD5D4DD}"/>
              </a:ext>
            </a:extLst>
          </p:cNvPr>
          <p:cNvSpPr txBox="1"/>
          <p:nvPr/>
        </p:nvSpPr>
        <p:spPr>
          <a:xfrm>
            <a:off x="6278351" y="3428751"/>
            <a:ext cx="5006123" cy="6181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ES"/>
            </a:defPPr>
            <a:lvl1pPr marL="135731" indent="-135731">
              <a:spcAft>
                <a:spcPts val="45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900"/>
            </a:lvl1pPr>
          </a:lstStyle>
          <a:p>
            <a:pPr marL="0" indent="0">
              <a:buNone/>
            </a:pPr>
            <a:r>
              <a:rPr lang="es-ES" sz="1200" b="1" dirty="0"/>
              <a:t>Claro Colombia</a:t>
            </a:r>
            <a:endParaRPr lang="es-CO" sz="1200" dirty="0"/>
          </a:p>
          <a:p>
            <a:pPr marL="0" indent="0">
              <a:buNone/>
            </a:pPr>
            <a:r>
              <a:rPr lang="es-ES" sz="1200" dirty="0"/>
              <a:t>Ha incorporado esta capacidad desde el 2018, cuando decide impulsar su transformación digital.</a:t>
            </a:r>
            <a:endParaRPr lang="es-CO" sz="1200" dirty="0"/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796291F9-4831-80F4-C7B7-6C51505E1258}"/>
              </a:ext>
            </a:extLst>
          </p:cNvPr>
          <p:cNvCxnSpPr/>
          <p:nvPr/>
        </p:nvCxnSpPr>
        <p:spPr>
          <a:xfrm>
            <a:off x="698586" y="4556722"/>
            <a:ext cx="10481038" cy="16512"/>
          </a:xfrm>
          <a:prstGeom prst="line">
            <a:avLst/>
          </a:prstGeom>
          <a:ln w="6350">
            <a:solidFill>
              <a:schemeClr val="accent3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524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/>
      <p:bldP spid="9" grpId="0" animBg="1"/>
      <p:bldP spid="10" grpId="0" animBg="1"/>
      <p:bldP spid="11" grpId="0" animBg="1"/>
      <p:bldP spid="12" grpId="0"/>
      <p:bldP spid="13" grpId="0"/>
      <p:bldP spid="14" grpId="0"/>
      <p:bldP spid="15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C6D3296A-B6FF-B9CB-8487-3BED6B814C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/>
              <a:t>retroalimentación constante.</a:t>
            </a:r>
            <a:endParaRPr lang="es-CO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12DB92C-B12E-21F3-2198-0474492C2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258" y="147094"/>
            <a:ext cx="10894144" cy="617612"/>
          </a:xfrm>
        </p:spPr>
        <p:txBody>
          <a:bodyPr/>
          <a:lstStyle/>
          <a:p>
            <a:r>
              <a:rPr lang="es-ES" sz="3200" dirty="0"/>
              <a:t>La metodología agile busca generar una forma de trabajar iterativa</a:t>
            </a:r>
            <a:endParaRPr lang="es-CO" sz="3200" dirty="0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D6A33539-61D3-8E4A-B32B-822BCD7B0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gray">
          <a:xfrm>
            <a:off x="1784570" y="2194294"/>
            <a:ext cx="3987311" cy="847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E227471E-DCE4-3E93-8BB4-840DBE9AE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gray">
          <a:xfrm>
            <a:off x="7485006" y="2509952"/>
            <a:ext cx="3909315" cy="397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0">
            <a:extLst>
              <a:ext uri="{FF2B5EF4-FFF2-40B4-BE49-F238E27FC236}">
                <a16:creationId xmlns:a16="http://schemas.microsoft.com/office/drawing/2014/main" id="{01401BC9-5F37-C668-4724-89B34A8FB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gray">
          <a:xfrm>
            <a:off x="7497318" y="2179729"/>
            <a:ext cx="3909315" cy="257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id="{3B9EB4C1-7612-7374-EDB0-7B9B899DA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gray">
          <a:xfrm>
            <a:off x="7497318" y="2425815"/>
            <a:ext cx="3844683" cy="142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23">
            <a:extLst>
              <a:ext uri="{FF2B5EF4-FFF2-40B4-BE49-F238E27FC236}">
                <a16:creationId xmlns:a16="http://schemas.microsoft.com/office/drawing/2014/main" id="{464D636A-7450-3C24-1054-9C37640845F3}"/>
              </a:ext>
            </a:extLst>
          </p:cNvPr>
          <p:cNvSpPr txBox="1"/>
          <p:nvPr/>
        </p:nvSpPr>
        <p:spPr>
          <a:xfrm>
            <a:off x="1976881" y="6464685"/>
            <a:ext cx="1049326" cy="246221"/>
          </a:xfrm>
          <a:prstGeom prst="rect">
            <a:avLst/>
          </a:prstGeom>
          <a:noFill/>
          <a:ln>
            <a:noFill/>
          </a:ln>
        </p:spPr>
        <p:txBody>
          <a:bodyPr wrap="none" lIns="45720" tIns="45720" rIns="45720" bIns="45720" rtlCol="0">
            <a:spAutoFit/>
          </a:bodyPr>
          <a:lstStyle/>
          <a:p>
            <a:r>
              <a:rPr lang="es-CO" sz="1000" b="1" dirty="0"/>
              <a:t>Desarrollo agile</a:t>
            </a:r>
          </a:p>
        </p:txBody>
      </p:sp>
      <p:cxnSp>
        <p:nvCxnSpPr>
          <p:cNvPr id="9" name="Straight Connector 24">
            <a:extLst>
              <a:ext uri="{FF2B5EF4-FFF2-40B4-BE49-F238E27FC236}">
                <a16:creationId xmlns:a16="http://schemas.microsoft.com/office/drawing/2014/main" id="{9BB65167-A8AF-1B94-A36A-75217A630696}"/>
              </a:ext>
            </a:extLst>
          </p:cNvPr>
          <p:cNvCxnSpPr/>
          <p:nvPr/>
        </p:nvCxnSpPr>
        <p:spPr>
          <a:xfrm>
            <a:off x="1284696" y="6587790"/>
            <a:ext cx="630570" cy="0"/>
          </a:xfrm>
          <a:prstGeom prst="line">
            <a:avLst/>
          </a:prstGeom>
          <a:ln w="412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25">
            <a:extLst>
              <a:ext uri="{FF2B5EF4-FFF2-40B4-BE49-F238E27FC236}">
                <a16:creationId xmlns:a16="http://schemas.microsoft.com/office/drawing/2014/main" id="{A51A34F8-363E-6175-71D4-D0006714753C}"/>
              </a:ext>
            </a:extLst>
          </p:cNvPr>
          <p:cNvSpPr txBox="1"/>
          <p:nvPr/>
        </p:nvSpPr>
        <p:spPr>
          <a:xfrm>
            <a:off x="3778187" y="6464685"/>
            <a:ext cx="1405193" cy="246221"/>
          </a:xfrm>
          <a:prstGeom prst="rect">
            <a:avLst/>
          </a:prstGeom>
          <a:noFill/>
          <a:ln>
            <a:noFill/>
          </a:ln>
        </p:spPr>
        <p:txBody>
          <a:bodyPr wrap="none" lIns="45720" tIns="45720" rIns="45720" bIns="45720" rtlCol="0">
            <a:spAutoFit/>
          </a:bodyPr>
          <a:lstStyle/>
          <a:p>
            <a:r>
              <a:rPr lang="es-CO" sz="1000" b="1" dirty="0"/>
              <a:t>Desarrollo tradicional</a:t>
            </a:r>
          </a:p>
        </p:txBody>
      </p:sp>
      <p:cxnSp>
        <p:nvCxnSpPr>
          <p:cNvPr id="11" name="Straight Connector 26">
            <a:extLst>
              <a:ext uri="{FF2B5EF4-FFF2-40B4-BE49-F238E27FC236}">
                <a16:creationId xmlns:a16="http://schemas.microsoft.com/office/drawing/2014/main" id="{3C15A084-5BBC-8719-97FC-F59C5C93ADFC}"/>
              </a:ext>
            </a:extLst>
          </p:cNvPr>
          <p:cNvCxnSpPr/>
          <p:nvPr/>
        </p:nvCxnSpPr>
        <p:spPr>
          <a:xfrm>
            <a:off x="3150691" y="6600853"/>
            <a:ext cx="630570" cy="6072"/>
          </a:xfrm>
          <a:prstGeom prst="line">
            <a:avLst/>
          </a:prstGeom>
          <a:ln w="2222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utoShape 2">
            <a:extLst>
              <a:ext uri="{FF2B5EF4-FFF2-40B4-BE49-F238E27FC236}">
                <a16:creationId xmlns:a16="http://schemas.microsoft.com/office/drawing/2014/main" id="{80963383-5DAF-7B1E-CC6A-DD9C1F95FF52}"/>
              </a:ext>
            </a:extLst>
          </p:cNvPr>
          <p:cNvSpPr>
            <a:spLocks noChangeArrowheads="1"/>
          </p:cNvSpPr>
          <p:nvPr/>
        </p:nvSpPr>
        <p:spPr bwMode="gray">
          <a:xfrm rot="7034489">
            <a:off x="4809305" y="5312942"/>
            <a:ext cx="413453" cy="32004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400" b="1" dirty="0">
              <a:solidFill>
                <a:srgbClr val="000000"/>
              </a:solidFill>
            </a:endParaRPr>
          </a:p>
        </p:txBody>
      </p:sp>
      <p:sp>
        <p:nvSpPr>
          <p:cNvPr id="13" name="Freeform 189">
            <a:extLst>
              <a:ext uri="{FF2B5EF4-FFF2-40B4-BE49-F238E27FC236}">
                <a16:creationId xmlns:a16="http://schemas.microsoft.com/office/drawing/2014/main" id="{19813ECC-3A25-F38E-E602-1B5301A23C19}"/>
              </a:ext>
            </a:extLst>
          </p:cNvPr>
          <p:cNvSpPr/>
          <p:nvPr/>
        </p:nvSpPr>
        <p:spPr>
          <a:xfrm>
            <a:off x="4316578" y="5055908"/>
            <a:ext cx="1362392" cy="797433"/>
          </a:xfrm>
          <a:custGeom>
            <a:avLst/>
            <a:gdLst>
              <a:gd name="connsiteX0" fmla="*/ 0 w 1973580"/>
              <a:gd name="connsiteY0" fmla="*/ 0 h 1139190"/>
              <a:gd name="connsiteX1" fmla="*/ 0 w 1973580"/>
              <a:gd name="connsiteY1" fmla="*/ 1139190 h 1139190"/>
              <a:gd name="connsiteX2" fmla="*/ 1973580 w 1973580"/>
              <a:gd name="connsiteY2" fmla="*/ 1139190 h 1139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73580" h="1139190">
                <a:moveTo>
                  <a:pt x="0" y="0"/>
                </a:moveTo>
                <a:lnTo>
                  <a:pt x="0" y="1139190"/>
                </a:lnTo>
                <a:lnTo>
                  <a:pt x="1973580" y="1139190"/>
                </a:lnTo>
              </a:path>
            </a:pathLst>
          </a:custGeom>
          <a:ln w="9525" cap="rnd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081E20EC-77A3-D935-38DF-5F74E36765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02793" y="4394983"/>
            <a:ext cx="1363504" cy="31393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lIns="64007" tIns="64007" rIns="64007" bIns="64007" anchor="b">
            <a:spAutoFit/>
          </a:bodyPr>
          <a:lstStyle/>
          <a:p>
            <a:pPr algn="ctr"/>
            <a:r>
              <a:rPr lang="es-CO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iesgo</a:t>
            </a:r>
          </a:p>
        </p:txBody>
      </p:sp>
      <p:sp>
        <p:nvSpPr>
          <p:cNvPr id="15" name="Freeform 191">
            <a:extLst>
              <a:ext uri="{FF2B5EF4-FFF2-40B4-BE49-F238E27FC236}">
                <a16:creationId xmlns:a16="http://schemas.microsoft.com/office/drawing/2014/main" id="{AC792C10-FB18-11F6-66E5-56450F03116D}"/>
              </a:ext>
            </a:extLst>
          </p:cNvPr>
          <p:cNvSpPr/>
          <p:nvPr/>
        </p:nvSpPr>
        <p:spPr>
          <a:xfrm rot="10800000" flipH="1">
            <a:off x="4332583" y="4968775"/>
            <a:ext cx="1362392" cy="840063"/>
          </a:xfrm>
          <a:custGeom>
            <a:avLst/>
            <a:gdLst>
              <a:gd name="connsiteX0" fmla="*/ 0 w 1872762"/>
              <a:gd name="connsiteY0" fmla="*/ 914400 h 914400"/>
              <a:gd name="connsiteX1" fmla="*/ 1872762 w 1872762"/>
              <a:gd name="connsiteY1" fmla="*/ 0 h 914400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122485"/>
              <a:gd name="connsiteX1" fmla="*/ 1872762 w 1872762"/>
              <a:gd name="connsiteY1" fmla="*/ 0 h 1122485"/>
              <a:gd name="connsiteX0" fmla="*/ 0 w 1756938"/>
              <a:gd name="connsiteY0" fmla="*/ 822960 h 1122485"/>
              <a:gd name="connsiteX1" fmla="*/ 1756938 w 1756938"/>
              <a:gd name="connsiteY1" fmla="*/ 0 h 1122485"/>
              <a:gd name="connsiteX0" fmla="*/ 0 w 1848378"/>
              <a:gd name="connsiteY0" fmla="*/ 871728 h 1122485"/>
              <a:gd name="connsiteX1" fmla="*/ 1848378 w 1848378"/>
              <a:gd name="connsiteY1" fmla="*/ 0 h 1122485"/>
              <a:gd name="connsiteX0" fmla="*/ 0 w 1805706"/>
              <a:gd name="connsiteY0" fmla="*/ 926592 h 1122485"/>
              <a:gd name="connsiteX1" fmla="*/ 1805706 w 1805706"/>
              <a:gd name="connsiteY1" fmla="*/ 0 h 1122485"/>
              <a:gd name="connsiteX0" fmla="*/ 0 w 1805706"/>
              <a:gd name="connsiteY0" fmla="*/ 926592 h 1092005"/>
              <a:gd name="connsiteX1" fmla="*/ 1805706 w 1805706"/>
              <a:gd name="connsiteY1" fmla="*/ 0 h 1092005"/>
              <a:gd name="connsiteX0" fmla="*/ 0 w 1805706"/>
              <a:gd name="connsiteY0" fmla="*/ 926592 h 1092005"/>
              <a:gd name="connsiteX1" fmla="*/ 1805706 w 1805706"/>
              <a:gd name="connsiteY1" fmla="*/ 0 h 1092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05706" h="1092005">
                <a:moveTo>
                  <a:pt x="0" y="926592"/>
                </a:moveTo>
                <a:cubicBezTo>
                  <a:pt x="877824" y="890954"/>
                  <a:pt x="1682730" y="1092005"/>
                  <a:pt x="1805706" y="0"/>
                </a:cubicBezTo>
              </a:path>
            </a:pathLst>
          </a:custGeom>
          <a:noFill/>
          <a:ln w="22225" cap="rnd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Freeform 192">
            <a:extLst>
              <a:ext uri="{FF2B5EF4-FFF2-40B4-BE49-F238E27FC236}">
                <a16:creationId xmlns:a16="http://schemas.microsoft.com/office/drawing/2014/main" id="{48A56A02-BEC5-6214-EEFF-D81E2897820B}"/>
              </a:ext>
            </a:extLst>
          </p:cNvPr>
          <p:cNvSpPr/>
          <p:nvPr/>
        </p:nvSpPr>
        <p:spPr>
          <a:xfrm flipH="1">
            <a:off x="4340658" y="5100308"/>
            <a:ext cx="1362392" cy="840063"/>
          </a:xfrm>
          <a:custGeom>
            <a:avLst/>
            <a:gdLst>
              <a:gd name="connsiteX0" fmla="*/ 0 w 1872762"/>
              <a:gd name="connsiteY0" fmla="*/ 914400 h 914400"/>
              <a:gd name="connsiteX1" fmla="*/ 1872762 w 1872762"/>
              <a:gd name="connsiteY1" fmla="*/ 0 h 914400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122485"/>
              <a:gd name="connsiteX1" fmla="*/ 1872762 w 1872762"/>
              <a:gd name="connsiteY1" fmla="*/ 0 h 1122485"/>
              <a:gd name="connsiteX0" fmla="*/ 0 w 1756938"/>
              <a:gd name="connsiteY0" fmla="*/ 822960 h 1122485"/>
              <a:gd name="connsiteX1" fmla="*/ 1756938 w 1756938"/>
              <a:gd name="connsiteY1" fmla="*/ 0 h 1122485"/>
              <a:gd name="connsiteX0" fmla="*/ 0 w 1848378"/>
              <a:gd name="connsiteY0" fmla="*/ 871728 h 1122485"/>
              <a:gd name="connsiteX1" fmla="*/ 1848378 w 1848378"/>
              <a:gd name="connsiteY1" fmla="*/ 0 h 1122485"/>
              <a:gd name="connsiteX0" fmla="*/ 0 w 1805706"/>
              <a:gd name="connsiteY0" fmla="*/ 926592 h 1122485"/>
              <a:gd name="connsiteX1" fmla="*/ 1805706 w 1805706"/>
              <a:gd name="connsiteY1" fmla="*/ 0 h 1122485"/>
              <a:gd name="connsiteX0" fmla="*/ 0 w 1805706"/>
              <a:gd name="connsiteY0" fmla="*/ 926592 h 1092005"/>
              <a:gd name="connsiteX1" fmla="*/ 1805706 w 1805706"/>
              <a:gd name="connsiteY1" fmla="*/ 0 h 1092005"/>
              <a:gd name="connsiteX0" fmla="*/ 0 w 1805706"/>
              <a:gd name="connsiteY0" fmla="*/ 926592 h 1092005"/>
              <a:gd name="connsiteX1" fmla="*/ 1805706 w 1805706"/>
              <a:gd name="connsiteY1" fmla="*/ 0 h 1092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05706" h="1092005">
                <a:moveTo>
                  <a:pt x="0" y="926592"/>
                </a:moveTo>
                <a:cubicBezTo>
                  <a:pt x="877824" y="890954"/>
                  <a:pt x="1682730" y="1092005"/>
                  <a:pt x="1805706" y="0"/>
                </a:cubicBezTo>
              </a:path>
            </a:pathLst>
          </a:custGeom>
          <a:noFill/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7" name="AutoShape 2">
            <a:extLst>
              <a:ext uri="{FF2B5EF4-FFF2-40B4-BE49-F238E27FC236}">
                <a16:creationId xmlns:a16="http://schemas.microsoft.com/office/drawing/2014/main" id="{A2FCE27D-B721-3E17-BF99-AE96CD9884A6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6765152" y="5320356"/>
            <a:ext cx="413454" cy="32004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400" b="1" dirty="0">
              <a:solidFill>
                <a:srgbClr val="000000"/>
              </a:solidFill>
            </a:endParaRPr>
          </a:p>
        </p:txBody>
      </p:sp>
      <p:sp>
        <p:nvSpPr>
          <p:cNvPr id="18" name="Arc 201">
            <a:extLst>
              <a:ext uri="{FF2B5EF4-FFF2-40B4-BE49-F238E27FC236}">
                <a16:creationId xmlns:a16="http://schemas.microsoft.com/office/drawing/2014/main" id="{BE493E13-3F6B-1A71-D38F-68E08D1A3FDE}"/>
              </a:ext>
            </a:extLst>
          </p:cNvPr>
          <p:cNvSpPr/>
          <p:nvPr/>
        </p:nvSpPr>
        <p:spPr>
          <a:xfrm>
            <a:off x="6373419" y="4369786"/>
            <a:ext cx="1348435" cy="1408176"/>
          </a:xfrm>
          <a:prstGeom prst="arc">
            <a:avLst>
              <a:gd name="adj1" fmla="val 30739"/>
              <a:gd name="adj2" fmla="val 10747719"/>
            </a:avLst>
          </a:prstGeom>
          <a:noFill/>
          <a:ln w="22225" cap="rnd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9" name="Freeform 202">
            <a:extLst>
              <a:ext uri="{FF2B5EF4-FFF2-40B4-BE49-F238E27FC236}">
                <a16:creationId xmlns:a16="http://schemas.microsoft.com/office/drawing/2014/main" id="{9D408A16-8433-5C69-5B7D-6653220521CB}"/>
              </a:ext>
            </a:extLst>
          </p:cNvPr>
          <p:cNvSpPr/>
          <p:nvPr/>
        </p:nvSpPr>
        <p:spPr>
          <a:xfrm>
            <a:off x="6326870" y="5055908"/>
            <a:ext cx="1362392" cy="797433"/>
          </a:xfrm>
          <a:custGeom>
            <a:avLst/>
            <a:gdLst>
              <a:gd name="connsiteX0" fmla="*/ 0 w 1973580"/>
              <a:gd name="connsiteY0" fmla="*/ 0 h 1139190"/>
              <a:gd name="connsiteX1" fmla="*/ 0 w 1973580"/>
              <a:gd name="connsiteY1" fmla="*/ 1139190 h 1139190"/>
              <a:gd name="connsiteX2" fmla="*/ 1973580 w 1973580"/>
              <a:gd name="connsiteY2" fmla="*/ 1139190 h 1139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73580" h="1139190">
                <a:moveTo>
                  <a:pt x="0" y="0"/>
                </a:moveTo>
                <a:lnTo>
                  <a:pt x="0" y="1139190"/>
                </a:lnTo>
                <a:lnTo>
                  <a:pt x="1973580" y="1139190"/>
                </a:lnTo>
              </a:path>
            </a:pathLst>
          </a:custGeom>
          <a:ln w="9525" cap="rnd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15AF81F8-2DFF-C1AA-0ABD-2F0E8A87F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26314" y="4394983"/>
            <a:ext cx="1363504" cy="31393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lIns="64007" tIns="64007" rIns="64007" bIns="64007" anchor="b">
            <a:spAutoFit/>
          </a:bodyPr>
          <a:lstStyle/>
          <a:p>
            <a:pPr algn="ctr"/>
            <a:r>
              <a:rPr lang="es-CO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isibilidad</a:t>
            </a:r>
          </a:p>
        </p:txBody>
      </p:sp>
      <p:sp>
        <p:nvSpPr>
          <p:cNvPr id="21" name="Freeform 204">
            <a:extLst>
              <a:ext uri="{FF2B5EF4-FFF2-40B4-BE49-F238E27FC236}">
                <a16:creationId xmlns:a16="http://schemas.microsoft.com/office/drawing/2014/main" id="{70A23995-5040-AEC8-6480-77AC16EC30D6}"/>
              </a:ext>
            </a:extLst>
          </p:cNvPr>
          <p:cNvSpPr/>
          <p:nvPr/>
        </p:nvSpPr>
        <p:spPr>
          <a:xfrm>
            <a:off x="6360875" y="5118331"/>
            <a:ext cx="1337946" cy="77787"/>
          </a:xfrm>
          <a:custGeom>
            <a:avLst/>
            <a:gdLst>
              <a:gd name="connsiteX0" fmla="*/ 0 w 1911350"/>
              <a:gd name="connsiteY0" fmla="*/ 22225 h 111125"/>
              <a:gd name="connsiteX1" fmla="*/ 123825 w 1911350"/>
              <a:gd name="connsiteY1" fmla="*/ 41275 h 111125"/>
              <a:gd name="connsiteX2" fmla="*/ 222250 w 1911350"/>
              <a:gd name="connsiteY2" fmla="*/ 76200 h 111125"/>
              <a:gd name="connsiteX3" fmla="*/ 279400 w 1911350"/>
              <a:gd name="connsiteY3" fmla="*/ 98425 h 111125"/>
              <a:gd name="connsiteX4" fmla="*/ 330200 w 1911350"/>
              <a:gd name="connsiteY4" fmla="*/ 101600 h 111125"/>
              <a:gd name="connsiteX5" fmla="*/ 403225 w 1911350"/>
              <a:gd name="connsiteY5" fmla="*/ 85725 h 111125"/>
              <a:gd name="connsiteX6" fmla="*/ 457200 w 1911350"/>
              <a:gd name="connsiteY6" fmla="*/ 47625 h 111125"/>
              <a:gd name="connsiteX7" fmla="*/ 530225 w 1911350"/>
              <a:gd name="connsiteY7" fmla="*/ 12700 h 111125"/>
              <a:gd name="connsiteX8" fmla="*/ 631825 w 1911350"/>
              <a:gd name="connsiteY8" fmla="*/ 22225 h 111125"/>
              <a:gd name="connsiteX9" fmla="*/ 714375 w 1911350"/>
              <a:gd name="connsiteY9" fmla="*/ 66675 h 111125"/>
              <a:gd name="connsiteX10" fmla="*/ 790575 w 1911350"/>
              <a:gd name="connsiteY10" fmla="*/ 88900 h 111125"/>
              <a:gd name="connsiteX11" fmla="*/ 850900 w 1911350"/>
              <a:gd name="connsiteY11" fmla="*/ 95250 h 111125"/>
              <a:gd name="connsiteX12" fmla="*/ 955675 w 1911350"/>
              <a:gd name="connsiteY12" fmla="*/ 22225 h 111125"/>
              <a:gd name="connsiteX13" fmla="*/ 1031875 w 1911350"/>
              <a:gd name="connsiteY13" fmla="*/ 0 h 111125"/>
              <a:gd name="connsiteX14" fmla="*/ 1143000 w 1911350"/>
              <a:gd name="connsiteY14" fmla="*/ 9525 h 111125"/>
              <a:gd name="connsiteX15" fmla="*/ 1311275 w 1911350"/>
              <a:gd name="connsiteY15" fmla="*/ 66675 h 111125"/>
              <a:gd name="connsiteX16" fmla="*/ 1438275 w 1911350"/>
              <a:gd name="connsiteY16" fmla="*/ 111125 h 111125"/>
              <a:gd name="connsiteX17" fmla="*/ 1482725 w 1911350"/>
              <a:gd name="connsiteY17" fmla="*/ 107950 h 111125"/>
              <a:gd name="connsiteX18" fmla="*/ 1508125 w 1911350"/>
              <a:gd name="connsiteY18" fmla="*/ 98425 h 111125"/>
              <a:gd name="connsiteX19" fmla="*/ 1530350 w 1911350"/>
              <a:gd name="connsiteY19" fmla="*/ 92075 h 111125"/>
              <a:gd name="connsiteX20" fmla="*/ 1600200 w 1911350"/>
              <a:gd name="connsiteY20" fmla="*/ 31750 h 111125"/>
              <a:gd name="connsiteX21" fmla="*/ 1631950 w 1911350"/>
              <a:gd name="connsiteY21" fmla="*/ 15875 h 111125"/>
              <a:gd name="connsiteX22" fmla="*/ 1666875 w 1911350"/>
              <a:gd name="connsiteY22" fmla="*/ 15875 h 111125"/>
              <a:gd name="connsiteX23" fmla="*/ 1911350 w 1911350"/>
              <a:gd name="connsiteY23" fmla="*/ 22225 h 11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911350" h="111125">
                <a:moveTo>
                  <a:pt x="0" y="22225"/>
                </a:moveTo>
                <a:lnTo>
                  <a:pt x="123825" y="41275"/>
                </a:lnTo>
                <a:lnTo>
                  <a:pt x="222250" y="76200"/>
                </a:lnTo>
                <a:lnTo>
                  <a:pt x="279400" y="98425"/>
                </a:lnTo>
                <a:lnTo>
                  <a:pt x="330200" y="101600"/>
                </a:lnTo>
                <a:lnTo>
                  <a:pt x="403225" y="85725"/>
                </a:lnTo>
                <a:lnTo>
                  <a:pt x="457200" y="47625"/>
                </a:lnTo>
                <a:lnTo>
                  <a:pt x="530225" y="12700"/>
                </a:lnTo>
                <a:lnTo>
                  <a:pt x="631825" y="22225"/>
                </a:lnTo>
                <a:lnTo>
                  <a:pt x="714375" y="66675"/>
                </a:lnTo>
                <a:lnTo>
                  <a:pt x="790575" y="88900"/>
                </a:lnTo>
                <a:lnTo>
                  <a:pt x="850900" y="95250"/>
                </a:lnTo>
                <a:lnTo>
                  <a:pt x="955675" y="22225"/>
                </a:lnTo>
                <a:lnTo>
                  <a:pt x="1031875" y="0"/>
                </a:lnTo>
                <a:lnTo>
                  <a:pt x="1143000" y="9525"/>
                </a:lnTo>
                <a:lnTo>
                  <a:pt x="1311275" y="66675"/>
                </a:lnTo>
                <a:lnTo>
                  <a:pt x="1438275" y="111125"/>
                </a:lnTo>
                <a:lnTo>
                  <a:pt x="1482725" y="107950"/>
                </a:lnTo>
                <a:lnTo>
                  <a:pt x="1508125" y="98425"/>
                </a:lnTo>
                <a:lnTo>
                  <a:pt x="1530350" y="92075"/>
                </a:lnTo>
                <a:lnTo>
                  <a:pt x="1600200" y="31750"/>
                </a:lnTo>
                <a:lnTo>
                  <a:pt x="1631950" y="15875"/>
                </a:lnTo>
                <a:lnTo>
                  <a:pt x="1666875" y="15875"/>
                </a:lnTo>
                <a:lnTo>
                  <a:pt x="1911350" y="22225"/>
                </a:lnTo>
              </a:path>
            </a:pathLst>
          </a:custGeom>
          <a:noFill/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2" name="AutoShape 2">
            <a:extLst>
              <a:ext uri="{FF2B5EF4-FFF2-40B4-BE49-F238E27FC236}">
                <a16:creationId xmlns:a16="http://schemas.microsoft.com/office/drawing/2014/main" id="{6B61EDC6-CD77-4CD6-F942-C29A0BE3C825}"/>
              </a:ext>
            </a:extLst>
          </p:cNvPr>
          <p:cNvSpPr>
            <a:spLocks noChangeArrowheads="1"/>
          </p:cNvSpPr>
          <p:nvPr/>
        </p:nvSpPr>
        <p:spPr bwMode="gray">
          <a:xfrm rot="14617721">
            <a:off x="2856598" y="5274310"/>
            <a:ext cx="413453" cy="32004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400" b="1" dirty="0">
              <a:solidFill>
                <a:srgbClr val="000000"/>
              </a:solidFill>
            </a:endParaRPr>
          </a:p>
        </p:txBody>
      </p:sp>
      <p:sp>
        <p:nvSpPr>
          <p:cNvPr id="23" name="Freeform 207">
            <a:extLst>
              <a:ext uri="{FF2B5EF4-FFF2-40B4-BE49-F238E27FC236}">
                <a16:creationId xmlns:a16="http://schemas.microsoft.com/office/drawing/2014/main" id="{AEA0432B-A611-2F71-FFA6-F91DDBEDD4FC}"/>
              </a:ext>
            </a:extLst>
          </p:cNvPr>
          <p:cNvSpPr/>
          <p:nvPr/>
        </p:nvSpPr>
        <p:spPr>
          <a:xfrm>
            <a:off x="2323579" y="5255572"/>
            <a:ext cx="1362392" cy="639874"/>
          </a:xfrm>
          <a:custGeom>
            <a:avLst/>
            <a:gdLst>
              <a:gd name="connsiteX0" fmla="*/ 0 w 1872762"/>
              <a:gd name="connsiteY0" fmla="*/ 914400 h 914400"/>
              <a:gd name="connsiteX1" fmla="*/ 1872762 w 1872762"/>
              <a:gd name="connsiteY1" fmla="*/ 0 h 914400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122485"/>
              <a:gd name="connsiteX1" fmla="*/ 1872762 w 1872762"/>
              <a:gd name="connsiteY1" fmla="*/ 0 h 1122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72762" h="1122485">
                <a:moveTo>
                  <a:pt x="0" y="914400"/>
                </a:moveTo>
                <a:cubicBezTo>
                  <a:pt x="914400" y="890954"/>
                  <a:pt x="1670538" y="1122485"/>
                  <a:pt x="1872762" y="0"/>
                </a:cubicBezTo>
              </a:path>
            </a:pathLst>
          </a:custGeom>
          <a:noFill/>
          <a:ln w="22225" cap="rnd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4" name="Freeform 208">
            <a:extLst>
              <a:ext uri="{FF2B5EF4-FFF2-40B4-BE49-F238E27FC236}">
                <a16:creationId xmlns:a16="http://schemas.microsoft.com/office/drawing/2014/main" id="{6D55A976-4F64-3A61-907A-7C0C93BD8E36}"/>
              </a:ext>
            </a:extLst>
          </p:cNvPr>
          <p:cNvSpPr/>
          <p:nvPr/>
        </p:nvSpPr>
        <p:spPr>
          <a:xfrm>
            <a:off x="2323856" y="5055908"/>
            <a:ext cx="1362392" cy="797433"/>
          </a:xfrm>
          <a:custGeom>
            <a:avLst/>
            <a:gdLst>
              <a:gd name="connsiteX0" fmla="*/ 0 w 1973580"/>
              <a:gd name="connsiteY0" fmla="*/ 0 h 1139190"/>
              <a:gd name="connsiteX1" fmla="*/ 0 w 1973580"/>
              <a:gd name="connsiteY1" fmla="*/ 1139190 h 1139190"/>
              <a:gd name="connsiteX2" fmla="*/ 1973580 w 1973580"/>
              <a:gd name="connsiteY2" fmla="*/ 1139190 h 1139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73580" h="1139190">
                <a:moveTo>
                  <a:pt x="0" y="0"/>
                </a:moveTo>
                <a:lnTo>
                  <a:pt x="0" y="1139190"/>
                </a:lnTo>
                <a:lnTo>
                  <a:pt x="1973580" y="1139190"/>
                </a:lnTo>
              </a:path>
            </a:pathLst>
          </a:custGeom>
          <a:ln w="9525" cap="rnd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5" name="ColumnHeader">
            <a:extLst>
              <a:ext uri="{FF2B5EF4-FFF2-40B4-BE49-F238E27FC236}">
                <a16:creationId xmlns:a16="http://schemas.microsoft.com/office/drawing/2014/main" id="{CE302553-C19B-BBD9-6D3D-2EB92DFE1D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70936" y="4157825"/>
            <a:ext cx="1500617" cy="5510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lIns="0" tIns="89999" rIns="0" bIns="89999" anchor="b">
            <a:spAutoFit/>
          </a:bodyPr>
          <a:lstStyle/>
          <a:p>
            <a:pPr algn="ctr"/>
            <a:r>
              <a:rPr lang="es-CO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alor para el negocio</a:t>
            </a:r>
          </a:p>
        </p:txBody>
      </p:sp>
      <p:sp>
        <p:nvSpPr>
          <p:cNvPr id="26" name="Freeform 210">
            <a:extLst>
              <a:ext uri="{FF2B5EF4-FFF2-40B4-BE49-F238E27FC236}">
                <a16:creationId xmlns:a16="http://schemas.microsoft.com/office/drawing/2014/main" id="{BB948CBB-2C34-1410-33AB-E0F045172724}"/>
              </a:ext>
            </a:extLst>
          </p:cNvPr>
          <p:cNvSpPr/>
          <p:nvPr/>
        </p:nvSpPr>
        <p:spPr>
          <a:xfrm rot="10800000">
            <a:off x="2330367" y="4968679"/>
            <a:ext cx="1362392" cy="785739"/>
          </a:xfrm>
          <a:custGeom>
            <a:avLst/>
            <a:gdLst>
              <a:gd name="connsiteX0" fmla="*/ 0 w 1872762"/>
              <a:gd name="connsiteY0" fmla="*/ 914400 h 914400"/>
              <a:gd name="connsiteX1" fmla="*/ 1872762 w 1872762"/>
              <a:gd name="connsiteY1" fmla="*/ 0 h 914400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351085"/>
              <a:gd name="connsiteX1" fmla="*/ 1872762 w 1872762"/>
              <a:gd name="connsiteY1" fmla="*/ 0 h 1351085"/>
              <a:gd name="connsiteX0" fmla="*/ 0 w 1872762"/>
              <a:gd name="connsiteY0" fmla="*/ 914400 h 1122485"/>
              <a:gd name="connsiteX1" fmla="*/ 1872762 w 1872762"/>
              <a:gd name="connsiteY1" fmla="*/ 0 h 1122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72762" h="1122485">
                <a:moveTo>
                  <a:pt x="0" y="914400"/>
                </a:moveTo>
                <a:cubicBezTo>
                  <a:pt x="914400" y="890954"/>
                  <a:pt x="1670538" y="1122485"/>
                  <a:pt x="1872762" y="0"/>
                </a:cubicBezTo>
              </a:path>
            </a:pathLst>
          </a:custGeom>
          <a:noFill/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7" name="Rounded Rectangle 219">
            <a:extLst>
              <a:ext uri="{FF2B5EF4-FFF2-40B4-BE49-F238E27FC236}">
                <a16:creationId xmlns:a16="http://schemas.microsoft.com/office/drawing/2014/main" id="{21534D7C-40EA-4370-6516-E896BFD51622}"/>
              </a:ext>
            </a:extLst>
          </p:cNvPr>
          <p:cNvSpPr/>
          <p:nvPr/>
        </p:nvSpPr>
        <p:spPr>
          <a:xfrm rot="16200000">
            <a:off x="172100" y="2350109"/>
            <a:ext cx="2736364" cy="488573"/>
          </a:xfrm>
          <a:prstGeom prst="roundRect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s-CO" sz="1400" b="1" dirty="0">
                <a:solidFill>
                  <a:schemeClr val="bg1"/>
                </a:solidFill>
              </a:rPr>
              <a:t>¿Cómo se trabaja con agile?</a:t>
            </a:r>
          </a:p>
        </p:txBody>
      </p:sp>
      <p:sp>
        <p:nvSpPr>
          <p:cNvPr id="28" name="Rounded Rectangle 220">
            <a:extLst>
              <a:ext uri="{FF2B5EF4-FFF2-40B4-BE49-F238E27FC236}">
                <a16:creationId xmlns:a16="http://schemas.microsoft.com/office/drawing/2014/main" id="{88077C45-0FBF-29C4-5A62-86F4217AF0DE}"/>
              </a:ext>
            </a:extLst>
          </p:cNvPr>
          <p:cNvSpPr/>
          <p:nvPr/>
        </p:nvSpPr>
        <p:spPr>
          <a:xfrm rot="16200000">
            <a:off x="723027" y="4942757"/>
            <a:ext cx="1634513" cy="488573"/>
          </a:xfrm>
          <a:prstGeom prst="roundRect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s-CO" sz="1400" b="1" dirty="0">
                <a:solidFill>
                  <a:schemeClr val="bg1"/>
                </a:solidFill>
              </a:rPr>
              <a:t>¿Porque Agile?</a:t>
            </a:r>
          </a:p>
        </p:txBody>
      </p:sp>
      <p:cxnSp>
        <p:nvCxnSpPr>
          <p:cNvPr id="29" name="Straight Connector 801">
            <a:extLst>
              <a:ext uri="{FF2B5EF4-FFF2-40B4-BE49-F238E27FC236}">
                <a16:creationId xmlns:a16="http://schemas.microsoft.com/office/drawing/2014/main" id="{2529047C-1F0F-77B1-2242-B3B2AB4FCF29}"/>
              </a:ext>
            </a:extLst>
          </p:cNvPr>
          <p:cNvCxnSpPr/>
          <p:nvPr/>
        </p:nvCxnSpPr>
        <p:spPr>
          <a:xfrm flipV="1">
            <a:off x="1295996" y="4157825"/>
            <a:ext cx="11538888" cy="31992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olumnHeader">
            <a:extLst>
              <a:ext uri="{FF2B5EF4-FFF2-40B4-BE49-F238E27FC236}">
                <a16:creationId xmlns:a16="http://schemas.microsoft.com/office/drawing/2014/main" id="{D1EE0191-E11C-1FF0-CB00-2AC7210B86CE}"/>
              </a:ext>
            </a:extLst>
          </p:cNvPr>
          <p:cNvSpPr>
            <a:spLocks noChangeArrowheads="1"/>
          </p:cNvSpPr>
          <p:nvPr/>
        </p:nvSpPr>
        <p:spPr>
          <a:xfrm>
            <a:off x="2040765" y="1452575"/>
            <a:ext cx="3795279" cy="3966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 b="0" i="0"/>
            </a:pPr>
            <a:r>
              <a:rPr lang="es-MX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CiscoSansTT Light"/>
              </a:rPr>
              <a:t>Ejecución tradicional en cascada</a:t>
            </a:r>
            <a:endParaRPr lang="es-CO" sz="1400" b="1" dirty="0">
              <a:solidFill>
                <a:srgbClr val="000000"/>
              </a:solidFill>
              <a:latin typeface="Arial" pitchFamily="34" charset="0"/>
              <a:cs typeface="Arial" pitchFamily="34" charset="0"/>
              <a:sym typeface="CiscoSansTT Light"/>
            </a:endParaRPr>
          </a:p>
        </p:txBody>
      </p:sp>
      <p:sp>
        <p:nvSpPr>
          <p:cNvPr id="31" name="ColumnHeader">
            <a:extLst>
              <a:ext uri="{FF2B5EF4-FFF2-40B4-BE49-F238E27FC236}">
                <a16:creationId xmlns:a16="http://schemas.microsoft.com/office/drawing/2014/main" id="{7F30FDAB-75B5-ECAF-9A02-93F8E6051A6A}"/>
              </a:ext>
            </a:extLst>
          </p:cNvPr>
          <p:cNvSpPr>
            <a:spLocks noChangeArrowheads="1"/>
          </p:cNvSpPr>
          <p:nvPr/>
        </p:nvSpPr>
        <p:spPr>
          <a:xfrm>
            <a:off x="7820157" y="1438010"/>
            <a:ext cx="3505677" cy="3966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 b="0" i="0"/>
            </a:pPr>
            <a:r>
              <a:rPr lang="es-CO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CiscoSansTT Light"/>
              </a:rPr>
              <a:t>Ejecución Agile</a:t>
            </a:r>
          </a:p>
        </p:txBody>
      </p:sp>
      <p:sp>
        <p:nvSpPr>
          <p:cNvPr id="32" name="FlowTriangle">
            <a:extLst>
              <a:ext uri="{FF2B5EF4-FFF2-40B4-BE49-F238E27FC236}">
                <a16:creationId xmlns:a16="http://schemas.microsoft.com/office/drawing/2014/main" id="{9A2E7C2A-FF29-9F3B-3391-2394B6DF5F32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5425859" y="2552560"/>
            <a:ext cx="2592000" cy="180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Arc 72">
            <a:extLst>
              <a:ext uri="{FF2B5EF4-FFF2-40B4-BE49-F238E27FC236}">
                <a16:creationId xmlns:a16="http://schemas.microsoft.com/office/drawing/2014/main" id="{88B4185C-E977-80CE-54B4-9FA9B2E8E2F1}"/>
              </a:ext>
            </a:extLst>
          </p:cNvPr>
          <p:cNvSpPr/>
          <p:nvPr/>
        </p:nvSpPr>
        <p:spPr bwMode="gray">
          <a:xfrm flipV="1">
            <a:off x="2346337" y="2878077"/>
            <a:ext cx="471270" cy="514351"/>
          </a:xfrm>
          <a:prstGeom prst="arc">
            <a:avLst>
              <a:gd name="adj1" fmla="val 10937437"/>
              <a:gd name="adj2" fmla="val 0"/>
            </a:avLst>
          </a:prstGeom>
          <a:ln w="28575" cmpd="sng">
            <a:solidFill>
              <a:srgbClr val="808080"/>
            </a:solidFill>
            <a:headEnd type="oval"/>
            <a:tailEnd type="stealth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45715" rIns="91430" bIns="45715" rtlCol="0" anchor="ctr"/>
          <a:lstStyle/>
          <a:p>
            <a:pPr algn="ctr"/>
            <a:endParaRPr lang="es-CO" dirty="0"/>
          </a:p>
        </p:txBody>
      </p:sp>
      <p:sp>
        <p:nvSpPr>
          <p:cNvPr id="34" name="Arc 73">
            <a:extLst>
              <a:ext uri="{FF2B5EF4-FFF2-40B4-BE49-F238E27FC236}">
                <a16:creationId xmlns:a16="http://schemas.microsoft.com/office/drawing/2014/main" id="{C0349040-E501-FBCD-0E4F-3876B1D6F5BB}"/>
              </a:ext>
            </a:extLst>
          </p:cNvPr>
          <p:cNvSpPr/>
          <p:nvPr/>
        </p:nvSpPr>
        <p:spPr bwMode="gray">
          <a:xfrm flipV="1">
            <a:off x="3309042" y="2837133"/>
            <a:ext cx="343609" cy="375020"/>
          </a:xfrm>
          <a:prstGeom prst="arc">
            <a:avLst>
              <a:gd name="adj1" fmla="val 10937437"/>
              <a:gd name="adj2" fmla="val 0"/>
            </a:avLst>
          </a:prstGeom>
          <a:ln w="28575" cmpd="sng">
            <a:solidFill>
              <a:srgbClr val="808080"/>
            </a:solidFill>
            <a:headEnd type="oval"/>
            <a:tailEnd type="stealth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45715" rIns="91430" bIns="45715" rtlCol="0" anchor="ctr"/>
          <a:lstStyle/>
          <a:p>
            <a:pPr algn="ctr"/>
            <a:endParaRPr lang="es-CO" dirty="0"/>
          </a:p>
        </p:txBody>
      </p:sp>
      <p:sp>
        <p:nvSpPr>
          <p:cNvPr id="35" name="Arc 74">
            <a:extLst>
              <a:ext uri="{FF2B5EF4-FFF2-40B4-BE49-F238E27FC236}">
                <a16:creationId xmlns:a16="http://schemas.microsoft.com/office/drawing/2014/main" id="{82930CDC-43DF-0172-DF30-099A6BE8EA37}"/>
              </a:ext>
            </a:extLst>
          </p:cNvPr>
          <p:cNvSpPr/>
          <p:nvPr/>
        </p:nvSpPr>
        <p:spPr bwMode="gray">
          <a:xfrm flipV="1">
            <a:off x="4476467" y="2837133"/>
            <a:ext cx="343609" cy="375020"/>
          </a:xfrm>
          <a:prstGeom prst="arc">
            <a:avLst>
              <a:gd name="adj1" fmla="val 10937437"/>
              <a:gd name="adj2" fmla="val 0"/>
            </a:avLst>
          </a:prstGeom>
          <a:ln w="28575" cmpd="sng">
            <a:solidFill>
              <a:srgbClr val="808080"/>
            </a:solidFill>
            <a:headEnd type="oval"/>
            <a:tailEnd type="stealth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45715" rIns="91430" bIns="45715" rtlCol="0" anchor="ctr"/>
          <a:lstStyle/>
          <a:p>
            <a:pPr algn="ctr"/>
            <a:endParaRPr lang="es-CO" dirty="0"/>
          </a:p>
        </p:txBody>
      </p:sp>
      <p:sp>
        <p:nvSpPr>
          <p:cNvPr id="36" name="clipart_onearrowloop">
            <a:extLst>
              <a:ext uri="{FF2B5EF4-FFF2-40B4-BE49-F238E27FC236}">
                <a16:creationId xmlns:a16="http://schemas.microsoft.com/office/drawing/2014/main" id="{42CD0D50-A8F0-67E6-67F6-5EDAFF18B983}"/>
              </a:ext>
            </a:extLst>
          </p:cNvPr>
          <p:cNvSpPr>
            <a:spLocks/>
          </p:cNvSpPr>
          <p:nvPr/>
        </p:nvSpPr>
        <p:spPr bwMode="gray">
          <a:xfrm>
            <a:off x="8055294" y="2973526"/>
            <a:ext cx="446089" cy="458172"/>
          </a:xfrm>
          <a:custGeom>
            <a:avLst/>
            <a:gdLst>
              <a:gd name="T0" fmla="*/ 2147483647 w 43200"/>
              <a:gd name="T1" fmla="*/ 0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  <a:lnTo>
                  <a:pt x="21600" y="21600"/>
                </a:lnTo>
                <a:close/>
              </a:path>
            </a:pathLst>
          </a:custGeom>
          <a:noFill/>
          <a:ln w="19050" cmpd="sng">
            <a:solidFill>
              <a:srgbClr val="FF0000"/>
            </a:solidFill>
            <a:round/>
            <a:headEnd/>
            <a:tailEnd type="stealth" w="lg" len="lg"/>
          </a:ln>
        </p:spPr>
        <p:txBody>
          <a:bodyPr wrap="none" lIns="180000" tIns="72000" rIns="180000" bIns="72000" anchor="ctr"/>
          <a:lstStyle/>
          <a:p>
            <a:endParaRPr lang="es-CO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TextBox 80">
            <a:extLst>
              <a:ext uri="{FF2B5EF4-FFF2-40B4-BE49-F238E27FC236}">
                <a16:creationId xmlns:a16="http://schemas.microsoft.com/office/drawing/2014/main" id="{FFE1BD4B-F176-2926-3CFA-049128AD5D7D}"/>
              </a:ext>
            </a:extLst>
          </p:cNvPr>
          <p:cNvSpPr txBox="1"/>
          <p:nvPr/>
        </p:nvSpPr>
        <p:spPr>
          <a:xfrm>
            <a:off x="7658667" y="3687190"/>
            <a:ext cx="1239341" cy="3510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0000" bIns="90000" rtlCol="0">
            <a:spAutoFit/>
          </a:bodyPr>
          <a:lstStyle>
            <a:defPPr>
              <a:defRPr lang="es-CO"/>
            </a:defPPr>
            <a:lvl1pPr algn="ct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CO" dirty="0"/>
              <a:t>MVP</a:t>
            </a:r>
          </a:p>
        </p:txBody>
      </p:sp>
      <p:sp>
        <p:nvSpPr>
          <p:cNvPr id="38" name="clipart_onearrowloop">
            <a:extLst>
              <a:ext uri="{FF2B5EF4-FFF2-40B4-BE49-F238E27FC236}">
                <a16:creationId xmlns:a16="http://schemas.microsoft.com/office/drawing/2014/main" id="{69BB5FB1-7AFA-D8C2-4B70-935A1F76EE1B}"/>
              </a:ext>
            </a:extLst>
          </p:cNvPr>
          <p:cNvSpPr>
            <a:spLocks/>
          </p:cNvSpPr>
          <p:nvPr/>
        </p:nvSpPr>
        <p:spPr bwMode="gray">
          <a:xfrm>
            <a:off x="8781729" y="2973526"/>
            <a:ext cx="223045" cy="229087"/>
          </a:xfrm>
          <a:custGeom>
            <a:avLst/>
            <a:gdLst>
              <a:gd name="T0" fmla="*/ 2147483647 w 43200"/>
              <a:gd name="T1" fmla="*/ 0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  <a:lnTo>
                  <a:pt x="21600" y="21600"/>
                </a:lnTo>
                <a:close/>
              </a:path>
            </a:pathLst>
          </a:custGeom>
          <a:noFill/>
          <a:ln w="19050" cmpd="sng">
            <a:solidFill>
              <a:srgbClr val="FF0000"/>
            </a:solidFill>
            <a:round/>
            <a:headEnd/>
            <a:tailEnd type="stealth" w="lg" len="lg"/>
          </a:ln>
        </p:spPr>
        <p:txBody>
          <a:bodyPr wrap="none" lIns="180000" tIns="72000" rIns="180000" bIns="72000" anchor="ctr"/>
          <a:lstStyle/>
          <a:p>
            <a:endParaRPr lang="es-CO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clipart_onearrowloop">
            <a:extLst>
              <a:ext uri="{FF2B5EF4-FFF2-40B4-BE49-F238E27FC236}">
                <a16:creationId xmlns:a16="http://schemas.microsoft.com/office/drawing/2014/main" id="{664DED2A-36A5-6874-D7D5-CE8AE54DB9E5}"/>
              </a:ext>
            </a:extLst>
          </p:cNvPr>
          <p:cNvSpPr>
            <a:spLocks/>
          </p:cNvSpPr>
          <p:nvPr/>
        </p:nvSpPr>
        <p:spPr bwMode="gray">
          <a:xfrm>
            <a:off x="9474069" y="2973526"/>
            <a:ext cx="223045" cy="229087"/>
          </a:xfrm>
          <a:custGeom>
            <a:avLst/>
            <a:gdLst>
              <a:gd name="T0" fmla="*/ 2147483647 w 43200"/>
              <a:gd name="T1" fmla="*/ 0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  <a:lnTo>
                  <a:pt x="21600" y="21600"/>
                </a:lnTo>
                <a:close/>
              </a:path>
            </a:pathLst>
          </a:custGeom>
          <a:noFill/>
          <a:ln w="19050" cmpd="sng">
            <a:solidFill>
              <a:srgbClr val="FF0000"/>
            </a:solidFill>
            <a:round/>
            <a:headEnd/>
            <a:tailEnd type="stealth" w="lg" len="lg"/>
          </a:ln>
        </p:spPr>
        <p:txBody>
          <a:bodyPr wrap="none" lIns="180000" tIns="72000" rIns="180000" bIns="72000" anchor="ctr"/>
          <a:lstStyle/>
          <a:p>
            <a:endParaRPr lang="es-CO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clipart_onearrowloop">
            <a:extLst>
              <a:ext uri="{FF2B5EF4-FFF2-40B4-BE49-F238E27FC236}">
                <a16:creationId xmlns:a16="http://schemas.microsoft.com/office/drawing/2014/main" id="{23E0223E-6C89-8E7D-9D8E-8566A88FCD9E}"/>
              </a:ext>
            </a:extLst>
          </p:cNvPr>
          <p:cNvSpPr>
            <a:spLocks/>
          </p:cNvSpPr>
          <p:nvPr/>
        </p:nvSpPr>
        <p:spPr bwMode="gray">
          <a:xfrm>
            <a:off x="10166409" y="2973526"/>
            <a:ext cx="223045" cy="229087"/>
          </a:xfrm>
          <a:custGeom>
            <a:avLst/>
            <a:gdLst>
              <a:gd name="T0" fmla="*/ 2147483647 w 43200"/>
              <a:gd name="T1" fmla="*/ 0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  <a:lnTo>
                  <a:pt x="21600" y="21600"/>
                </a:lnTo>
                <a:close/>
              </a:path>
            </a:pathLst>
          </a:custGeom>
          <a:noFill/>
          <a:ln w="19050" cmpd="sng">
            <a:solidFill>
              <a:srgbClr val="FF0000"/>
            </a:solidFill>
            <a:round/>
            <a:headEnd/>
            <a:tailEnd type="stealth" w="lg" len="lg"/>
          </a:ln>
        </p:spPr>
        <p:txBody>
          <a:bodyPr wrap="none" lIns="180000" tIns="72000" rIns="180000" bIns="72000" anchor="ctr"/>
          <a:lstStyle/>
          <a:p>
            <a:endParaRPr lang="es-CO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TextBox 89">
            <a:extLst>
              <a:ext uri="{FF2B5EF4-FFF2-40B4-BE49-F238E27FC236}">
                <a16:creationId xmlns:a16="http://schemas.microsoft.com/office/drawing/2014/main" id="{D38F9EBE-88EA-CDFF-4457-CA6CF85912B6}"/>
              </a:ext>
            </a:extLst>
          </p:cNvPr>
          <p:cNvSpPr txBox="1"/>
          <p:nvPr/>
        </p:nvSpPr>
        <p:spPr>
          <a:xfrm>
            <a:off x="1962379" y="3378780"/>
            <a:ext cx="1239341" cy="520312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es-CO" sz="1100" dirty="0">
                <a:latin typeface="Arial" pitchFamily="34" charset="0"/>
                <a:cs typeface="Arial" pitchFamily="34" charset="0"/>
              </a:rPr>
              <a:t>Desarrollo</a:t>
            </a:r>
          </a:p>
          <a:p>
            <a:pPr algn="ctr"/>
            <a:r>
              <a:rPr lang="es-CO" sz="1100" dirty="0">
                <a:latin typeface="Arial" pitchFamily="34" charset="0"/>
                <a:cs typeface="Arial" pitchFamily="34" charset="0"/>
              </a:rPr>
              <a:t>parcial</a:t>
            </a:r>
          </a:p>
        </p:txBody>
      </p:sp>
      <p:sp>
        <p:nvSpPr>
          <p:cNvPr id="42" name="TextBox 80">
            <a:extLst>
              <a:ext uri="{FF2B5EF4-FFF2-40B4-BE49-F238E27FC236}">
                <a16:creationId xmlns:a16="http://schemas.microsoft.com/office/drawing/2014/main" id="{E6BFD1D0-C712-06A5-A2B5-523F487C0DB0}"/>
              </a:ext>
            </a:extLst>
          </p:cNvPr>
          <p:cNvSpPr txBox="1"/>
          <p:nvPr/>
        </p:nvSpPr>
        <p:spPr>
          <a:xfrm>
            <a:off x="8623642" y="3247607"/>
            <a:ext cx="2702192" cy="3510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es-CO" sz="1100" dirty="0">
                <a:latin typeface="Arial" pitchFamily="34" charset="0"/>
                <a:cs typeface="Arial" pitchFamily="34" charset="0"/>
              </a:rPr>
              <a:t>INCREMENTOS DE VALOR</a:t>
            </a:r>
          </a:p>
        </p:txBody>
      </p:sp>
    </p:spTree>
    <p:extLst>
      <p:ext uri="{BB962C8B-B14F-4D97-AF65-F5344CB8AC3E}">
        <p14:creationId xmlns:p14="http://schemas.microsoft.com/office/powerpoint/2010/main" val="631899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09445" y="224613"/>
            <a:ext cx="11550555" cy="432000"/>
          </a:xfrm>
        </p:spPr>
        <p:txBody>
          <a:bodyPr>
            <a:normAutofit fontScale="90000"/>
          </a:bodyPr>
          <a:lstStyle/>
          <a:p>
            <a:r>
              <a:rPr lang="es-MX" dirty="0"/>
              <a:t>¿Qué es un servicio? </a:t>
            </a:r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rtl="0"/>
            <a:r>
              <a:rPr lang="es-ES" noProof="0"/>
              <a:t>Agregue un pie de página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rtl="0"/>
            <a:fld id="{19B51A1E-902D-48AF-9020-955120F399B6}" type="slidenum">
              <a:rPr lang="es-ES" noProof="0" smtClean="0"/>
              <a:pPr rtl="0"/>
              <a:t>6</a:t>
            </a:fld>
            <a:endParaRPr lang="es-ES" noProof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7819" y="690522"/>
            <a:ext cx="8281774" cy="607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683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ie de página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rtl="0"/>
            <a:r>
              <a:rPr lang="es-ES" noProof="0"/>
              <a:t>Agregue un pie de página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rtl="0"/>
            <a:fld id="{19B51A1E-902D-48AF-9020-955120F399B6}" type="slidenum">
              <a:rPr lang="es-ES" noProof="0" smtClean="0"/>
              <a:pPr rtl="0"/>
              <a:t>7</a:t>
            </a:fld>
            <a:endParaRPr lang="es-ES" noProof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8406" y="0"/>
            <a:ext cx="8574731" cy="637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85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ie de página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rtl="0"/>
            <a:r>
              <a:rPr lang="es-ES" noProof="0"/>
              <a:t>Agregue un pie de página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rtl="0"/>
            <a:fld id="{19B51A1E-902D-48AF-9020-955120F399B6}" type="slidenum">
              <a:rPr lang="es-ES" noProof="0" smtClean="0"/>
              <a:pPr rtl="0"/>
              <a:t>8</a:t>
            </a:fld>
            <a:endParaRPr lang="es-ES" noProof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6473" y="0"/>
            <a:ext cx="8309721" cy="625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527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8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rtl="0"/>
            <a:fld id="{19B51A1E-902D-48AF-9020-955120F399B6}" type="slidenum">
              <a:rPr lang="es-ES" noProof="0" smtClean="0"/>
              <a:pPr rtl="0"/>
              <a:t>9</a:t>
            </a:fld>
            <a:endParaRPr lang="es-ES" noProof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6178" y="211717"/>
            <a:ext cx="8443984" cy="6375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095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Cg5YbgS3GPAjfE9c9oz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AC6914A3604454EB88A8B3290FC1ABC" ma:contentTypeVersion="6" ma:contentTypeDescription="Crear nuevo documento." ma:contentTypeScope="" ma:versionID="4f3878ff9fbbac1afaf93789bded61f9">
  <xsd:schema xmlns:xsd="http://www.w3.org/2001/XMLSchema" xmlns:xs="http://www.w3.org/2001/XMLSchema" xmlns:p="http://schemas.microsoft.com/office/2006/metadata/properties" xmlns:ns3="f3486491-1ded-4031-a88b-cb7fa22f9bda" xmlns:ns4="0f5be4ed-84f0-494a-afcf-2a2df0a5e241" targetNamespace="http://schemas.microsoft.com/office/2006/metadata/properties" ma:root="true" ma:fieldsID="34b72112bdf1eff8cbfb4a8dd01df887" ns3:_="" ns4:_="">
    <xsd:import namespace="f3486491-1ded-4031-a88b-cb7fa22f9bda"/>
    <xsd:import namespace="0f5be4ed-84f0-494a-afcf-2a2df0a5e24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486491-1ded-4031-a88b-cb7fa22f9b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5be4ed-84f0-494a-afcf-2a2df0a5e24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3486491-1ded-4031-a88b-cb7fa22f9bd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A343C4-F7D7-4170-B768-5FE9404E999B}">
  <ds:schemaRefs>
    <ds:schemaRef ds:uri="0f5be4ed-84f0-494a-afcf-2a2df0a5e241"/>
    <ds:schemaRef ds:uri="f3486491-1ded-4031-a88b-cb7fa22f9bd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0541854-87B3-4953-A183-EF3BD285377B}">
  <ds:schemaRefs>
    <ds:schemaRef ds:uri="0f5be4ed-84f0-494a-afcf-2a2df0a5e241"/>
    <ds:schemaRef ds:uri="f3486491-1ded-4031-a88b-cb7fa22f9bd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FB9BFA2-1FA5-44A1-B975-10D6BF58EC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iseño de arquitectura</Template>
  <TotalTime>8009</TotalTime>
  <Words>2032</Words>
  <Application>Microsoft Office PowerPoint</Application>
  <PresentationFormat>Panorámica</PresentationFormat>
  <Paragraphs>366</Paragraphs>
  <Slides>39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9</vt:i4>
      </vt:variant>
    </vt:vector>
  </HeadingPairs>
  <TitlesOfParts>
    <vt:vector size="49" baseType="lpstr">
      <vt:lpstr>Arial</vt:lpstr>
      <vt:lpstr>Arial Narrow</vt:lpstr>
      <vt:lpstr>Calibri</vt:lpstr>
      <vt:lpstr>Corbel</vt:lpstr>
      <vt:lpstr>GeosansLight</vt:lpstr>
      <vt:lpstr>Tw Cen MT</vt:lpstr>
      <vt:lpstr>Tw Cen MT Condensed</vt:lpstr>
      <vt:lpstr>Wingdings 3</vt:lpstr>
      <vt:lpstr>Integral</vt:lpstr>
      <vt:lpstr>think-cell Slide</vt:lpstr>
      <vt:lpstr>Emprendemos</vt:lpstr>
      <vt:lpstr>Nada es gratis</vt:lpstr>
      <vt:lpstr>Presentación de PowerPoint</vt:lpstr>
      <vt:lpstr>Presentación de PowerPoint</vt:lpstr>
      <vt:lpstr>La metodología agile busca generar una forma de trabajar iterativa</vt:lpstr>
      <vt:lpstr>¿Qué es un servicio?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Identificar que necesita el cliente</vt:lpstr>
      <vt:lpstr>Presentación de PowerPoint</vt:lpstr>
      <vt:lpstr>Presentación de PowerPoint</vt:lpstr>
      <vt:lpstr>¿Que queremos resolver? </vt:lpstr>
      <vt:lpstr>Que aprenderemos – Creando Valor  </vt:lpstr>
      <vt:lpstr>Ejemplo Value proposition canvas</vt:lpstr>
      <vt:lpstr>Que aprenderemos – Creando Valor  </vt:lpstr>
      <vt:lpstr>Que aprenderemos – Creando Valor  </vt:lpstr>
      <vt:lpstr>Presentación de PowerPoint</vt:lpstr>
      <vt:lpstr>Presentación de PowerPoint</vt:lpstr>
      <vt:lpstr>Bussines canvas model</vt:lpstr>
      <vt:lpstr>Presentación de PowerPoint</vt:lpstr>
      <vt:lpstr>Que aprenderemos – Creando Valor  </vt:lpstr>
      <vt:lpstr>Presentación de PowerPoint</vt:lpstr>
      <vt:lpstr>Presentación de PowerPoint</vt:lpstr>
      <vt:lpstr>Presentación de PowerPoint</vt:lpstr>
      <vt:lpstr>Presentación de PowerPoint</vt:lpstr>
      <vt:lpstr>Optimizar las jornadas de cliente para digital es un viaje… Proponer</vt:lpstr>
      <vt:lpstr>Prototipado</vt:lpstr>
      <vt:lpstr>Prototipado</vt:lpstr>
      <vt:lpstr>Prototipado</vt:lpstr>
      <vt:lpstr>Presentación de PowerPoint</vt:lpstr>
      <vt:lpstr>Presentación de PowerPoint</vt:lpstr>
      <vt:lpstr>Conecting the Dots</vt:lpstr>
      <vt:lpstr>Apis de Google extensions</vt:lpstr>
      <vt:lpstr>Vamos a hacer nuestro primer Desarrollo</vt:lpstr>
      <vt:lpstr>Vamos a hacer nuestro primer Desarrollo</vt:lpstr>
      <vt:lpstr>Muchas Graci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o de Estudio Todo Tarjetas S.A</dc:title>
  <dc:creator>Lina Maria Mendoza</dc:creator>
  <cp:lastModifiedBy>Eduard Eugenio Duarte Sepulveda</cp:lastModifiedBy>
  <cp:revision>5</cp:revision>
  <dcterms:created xsi:type="dcterms:W3CDTF">2023-04-22T19:36:18Z</dcterms:created>
  <dcterms:modified xsi:type="dcterms:W3CDTF">2023-06-15T00:0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C6914A3604454EB88A8B3290FC1ABC</vt:lpwstr>
  </property>
</Properties>
</file>